
<file path=[Content_Types].xml><?xml version="1.0" encoding="utf-8"?>
<Types xmlns="http://schemas.openxmlformats.org/package/2006/content-types">
  <Default Extension="jpeg" ContentType="image/jpeg"/>
  <Default Extension="vml" ContentType="application/vnd.openxmlformats-officedocument.vmlDrawing"/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16"/>
  </p:notesMasterIdLst>
  <p:handoutMasterIdLst>
    <p:handoutMasterId r:id="rId17"/>
  </p:handoutMasterIdLst>
  <p:sldIdLst>
    <p:sldId id="256" r:id="rId3"/>
    <p:sldId id="257" r:id="rId4"/>
    <p:sldId id="275" r:id="rId5"/>
    <p:sldId id="330" r:id="rId6"/>
    <p:sldId id="331" r:id="rId7"/>
    <p:sldId id="332" r:id="rId8"/>
    <p:sldId id="279" r:id="rId9"/>
    <p:sldId id="355" r:id="rId10"/>
    <p:sldId id="356" r:id="rId11"/>
    <p:sldId id="357" r:id="rId12"/>
    <p:sldId id="358" r:id="rId13"/>
    <p:sldId id="360" r:id="rId14"/>
    <p:sldId id="302" r:id="rId15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0274D"/>
    <a:srgbClr val="1A75B4"/>
    <a:srgbClr val="8C8D7B"/>
    <a:srgbClr val="4E5A62"/>
    <a:srgbClr val="1B6194"/>
    <a:srgbClr val="2E254B"/>
    <a:srgbClr val="70AC43"/>
    <a:srgbClr val="C0BC00"/>
    <a:srgbClr val="B7CC3E"/>
    <a:srgbClr val="8C8C8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973" autoAdjust="0"/>
    <p:restoredTop sz="94660"/>
  </p:normalViewPr>
  <p:slideViewPr>
    <p:cSldViewPr snapToGrid="0">
      <p:cViewPr varScale="1">
        <p:scale>
          <a:sx n="61" d="100"/>
          <a:sy n="61" d="100"/>
        </p:scale>
        <p:origin x="700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7.xml"/><Relationship Id="rId8" Type="http://schemas.openxmlformats.org/officeDocument/2006/relationships/slide" Target="slides/slide6.xml"/><Relationship Id="rId7" Type="http://schemas.openxmlformats.org/officeDocument/2006/relationships/slide" Target="slides/slide5.xml"/><Relationship Id="rId6" Type="http://schemas.openxmlformats.org/officeDocument/2006/relationships/slide" Target="slides/slide4.xml"/><Relationship Id="rId5" Type="http://schemas.openxmlformats.org/officeDocument/2006/relationships/slide" Target="slides/slide3.xml"/><Relationship Id="rId4" Type="http://schemas.openxmlformats.org/officeDocument/2006/relationships/slide" Target="slides/slide2.xml"/><Relationship Id="rId3" Type="http://schemas.openxmlformats.org/officeDocument/2006/relationships/slide" Target="slides/slide1.xml"/><Relationship Id="rId20" Type="http://schemas.openxmlformats.org/officeDocument/2006/relationships/tableStyles" Target="tableStyles.xml"/><Relationship Id="rId2" Type="http://schemas.openxmlformats.org/officeDocument/2006/relationships/theme" Target="theme/theme1.xml"/><Relationship Id="rId19" Type="http://schemas.openxmlformats.org/officeDocument/2006/relationships/viewProps" Target="viewProps.xml"/><Relationship Id="rId18" Type="http://schemas.openxmlformats.org/officeDocument/2006/relationships/presProps" Target="presProps.xml"/><Relationship Id="rId17" Type="http://schemas.openxmlformats.org/officeDocument/2006/relationships/handoutMaster" Target="handoutMasters/handoutMaster1.xml"/><Relationship Id="rId16" Type="http://schemas.openxmlformats.org/officeDocument/2006/relationships/notesMaster" Target="notesMasters/notesMaster1.xml"/><Relationship Id="rId15" Type="http://schemas.openxmlformats.org/officeDocument/2006/relationships/slide" Target="slides/slide13.xml"/><Relationship Id="rId14" Type="http://schemas.openxmlformats.org/officeDocument/2006/relationships/slide" Target="slides/slide12.xml"/><Relationship Id="rId13" Type="http://schemas.openxmlformats.org/officeDocument/2006/relationships/slide" Target="slides/slide11.xml"/><Relationship Id="rId12" Type="http://schemas.openxmlformats.org/officeDocument/2006/relationships/slide" Target="slides/slide10.xml"/><Relationship Id="rId11" Type="http://schemas.openxmlformats.org/officeDocument/2006/relationships/slide" Target="slides/slide9.xml"/><Relationship Id="rId10" Type="http://schemas.openxmlformats.org/officeDocument/2006/relationships/slide" Target="slides/slide8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F9B84EA-7D68-4D60-9CB1-D50884785D1C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4E0FC9-F1F8-4FAE-9988-3BA365CFD46F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21E026E-5821-4914-88D2-30408802E002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138D247-7245-4E89-ABFF-FE914D202D35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1.vml"/><Relationship Id="rId4" Type="http://schemas.openxmlformats.org/officeDocument/2006/relationships/image" Target="../media/image2.emf"/><Relationship Id="rId3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2.vml"/><Relationship Id="rId4" Type="http://schemas.openxmlformats.org/officeDocument/2006/relationships/image" Target="../media/image2.emf"/><Relationship Id="rId3" Type="http://schemas.openxmlformats.org/officeDocument/2006/relationships/oleObject" Target="../embeddings/oleObject2.bin"/><Relationship Id="rId2" Type="http://schemas.openxmlformats.org/officeDocument/2006/relationships/tags" Target="../tags/tag2.xml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6" descr="德國工廠-塑科精密 copy.jpg"/>
          <p:cNvPicPr>
            <a:picLocks noChangeAspect="1"/>
          </p:cNvPicPr>
          <p:nvPr userDrawn="1"/>
        </p:nvPicPr>
        <p:blipFill>
          <a:blip r:embed="rId2" cstate="email"/>
          <a:srcRect t="18" b="18"/>
          <a:stretch>
            <a:fillRect/>
          </a:stretch>
        </p:blipFill>
        <p:spPr>
          <a:xfrm>
            <a:off x="0" y="-19251"/>
            <a:ext cx="12192000" cy="4836957"/>
          </a:xfrm>
          <a:prstGeom prst="rect">
            <a:avLst/>
          </a:prstGeom>
        </p:spPr>
      </p:pic>
      <p:sp>
        <p:nvSpPr>
          <p:cNvPr id="56" name="矩形 55"/>
          <p:cNvSpPr/>
          <p:nvPr/>
        </p:nvSpPr>
        <p:spPr>
          <a:xfrm>
            <a:off x="1588" y="-19251"/>
            <a:ext cx="12188825" cy="4864440"/>
          </a:xfrm>
          <a:prstGeom prst="rect">
            <a:avLst/>
          </a:prstGeom>
          <a:solidFill>
            <a:srgbClr val="FFFFFF">
              <a:alpha val="55000"/>
            </a:srgbClr>
          </a:solidFill>
          <a:ln>
            <a:noFill/>
          </a:ln>
          <a:effectLst/>
        </p:spPr>
        <p:txBody>
          <a:bodyPr wrap="square" lIns="91440" tIns="68580" rIns="68580" bIns="6858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300"/>
              </a:spcBef>
            </a:pPr>
            <a:endParaRPr lang="zh-CN" altLang="en-US" sz="1000" dirty="0" err="1">
              <a:solidFill>
                <a:schemeClr val="tx2"/>
              </a:solidFill>
              <a:latin typeface="Arial" panose="020B0604020202090204" pitchFamily="34" charset="0"/>
              <a:ea typeface="微软雅黑" panose="020B0503020204020204" pitchFamily="34" charset="-122"/>
              <a:sym typeface="Arial" panose="020B0604020202090204" pitchFamily="34" charset="0"/>
            </a:endParaRPr>
          </a:p>
        </p:txBody>
      </p:sp>
      <p:grpSp>
        <p:nvGrpSpPr>
          <p:cNvPr id="14" name="组合 13"/>
          <p:cNvGrpSpPr/>
          <p:nvPr userDrawn="1"/>
        </p:nvGrpSpPr>
        <p:grpSpPr>
          <a:xfrm>
            <a:off x="195872" y="5053131"/>
            <a:ext cx="5146148" cy="807317"/>
            <a:chOff x="12666304" y="9218286"/>
            <a:chExt cx="11479713" cy="1800914"/>
          </a:xfrm>
        </p:grpSpPr>
        <p:sp>
          <p:nvSpPr>
            <p:cNvPr id="15" name="Oval 29"/>
            <p:cNvSpPr/>
            <p:nvPr/>
          </p:nvSpPr>
          <p:spPr>
            <a:xfrm>
              <a:off x="12666304" y="9218286"/>
              <a:ext cx="1800913" cy="180091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45531" tIns="22776" rIns="45531" bIns="22776" rtlCol="0" anchor="ctr"/>
            <a:lstStyle/>
            <a:p>
              <a:pPr algn="ctr"/>
              <a:endParaRPr lang="en-US" sz="900">
                <a:latin typeface="Arial" panose="020B0604020202090204" pitchFamily="34" charset="0"/>
                <a:ea typeface="微软雅黑" panose="020B0503020204020204" pitchFamily="34" charset="-122"/>
                <a:sym typeface="Arial" panose="020B0604020202090204" pitchFamily="34" charset="0"/>
              </a:endParaRPr>
            </a:p>
          </p:txBody>
        </p:sp>
        <p:sp>
          <p:nvSpPr>
            <p:cNvPr id="16" name="Oval 41"/>
            <p:cNvSpPr/>
            <p:nvPr/>
          </p:nvSpPr>
          <p:spPr>
            <a:xfrm>
              <a:off x="15086005" y="9218286"/>
              <a:ext cx="1800913" cy="1800914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45531" tIns="22776" rIns="45531" bIns="22776" rtlCol="0" anchor="ctr"/>
            <a:lstStyle/>
            <a:p>
              <a:pPr algn="ctr"/>
              <a:endParaRPr lang="en-US" sz="900">
                <a:latin typeface="Arial" panose="020B0604020202090204" pitchFamily="34" charset="0"/>
                <a:ea typeface="微软雅黑" panose="020B0503020204020204" pitchFamily="34" charset="-122"/>
                <a:sym typeface="Arial" panose="020B0604020202090204" pitchFamily="34" charset="0"/>
              </a:endParaRPr>
            </a:p>
          </p:txBody>
        </p:sp>
        <p:sp>
          <p:nvSpPr>
            <p:cNvPr id="17" name="Oval 42"/>
            <p:cNvSpPr/>
            <p:nvPr/>
          </p:nvSpPr>
          <p:spPr>
            <a:xfrm>
              <a:off x="17505705" y="9218286"/>
              <a:ext cx="1800913" cy="1800914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45531" tIns="22776" rIns="45531" bIns="22776" rtlCol="0" anchor="ctr"/>
            <a:lstStyle/>
            <a:p>
              <a:pPr algn="ctr"/>
              <a:endParaRPr lang="en-US" sz="900">
                <a:latin typeface="Arial" panose="020B0604020202090204" pitchFamily="34" charset="0"/>
                <a:ea typeface="微软雅黑" panose="020B0503020204020204" pitchFamily="34" charset="-122"/>
                <a:sym typeface="Arial" panose="020B0604020202090204" pitchFamily="34" charset="0"/>
              </a:endParaRPr>
            </a:p>
          </p:txBody>
        </p:sp>
        <p:sp>
          <p:nvSpPr>
            <p:cNvPr id="18" name="Oval 45"/>
            <p:cNvSpPr/>
            <p:nvPr/>
          </p:nvSpPr>
          <p:spPr>
            <a:xfrm>
              <a:off x="19925403" y="9218286"/>
              <a:ext cx="1800913" cy="1800914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45531" tIns="22776" rIns="45531" bIns="22776" rtlCol="0" anchor="ctr"/>
            <a:lstStyle/>
            <a:p>
              <a:pPr algn="ctr"/>
              <a:endParaRPr lang="en-US" sz="900">
                <a:latin typeface="Arial" panose="020B0604020202090204" pitchFamily="34" charset="0"/>
                <a:ea typeface="微软雅黑" panose="020B0503020204020204" pitchFamily="34" charset="-122"/>
                <a:sym typeface="Arial" panose="020B0604020202090204" pitchFamily="34" charset="0"/>
              </a:endParaRPr>
            </a:p>
          </p:txBody>
        </p:sp>
        <p:sp>
          <p:nvSpPr>
            <p:cNvPr id="19" name="Oval 46"/>
            <p:cNvSpPr/>
            <p:nvPr/>
          </p:nvSpPr>
          <p:spPr>
            <a:xfrm>
              <a:off x="22345104" y="9218286"/>
              <a:ext cx="1800913" cy="1800914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45531" tIns="22776" rIns="45531" bIns="22776" rtlCol="0" anchor="ctr"/>
            <a:lstStyle/>
            <a:p>
              <a:pPr algn="ctr"/>
              <a:endParaRPr lang="en-US" sz="900">
                <a:latin typeface="Arial" panose="020B0604020202090204" pitchFamily="34" charset="0"/>
                <a:ea typeface="微软雅黑" panose="020B0503020204020204" pitchFamily="34" charset="-122"/>
                <a:sym typeface="Arial" panose="020B0604020202090204" pitchFamily="34" charset="0"/>
              </a:endParaRPr>
            </a:p>
          </p:txBody>
        </p:sp>
        <p:grpSp>
          <p:nvGrpSpPr>
            <p:cNvPr id="20" name="Group 48"/>
            <p:cNvGrpSpPr/>
            <p:nvPr/>
          </p:nvGrpSpPr>
          <p:grpSpPr>
            <a:xfrm>
              <a:off x="20411556" y="9665676"/>
              <a:ext cx="905522" cy="906114"/>
              <a:chOff x="2524463" y="4766967"/>
              <a:chExt cx="618725" cy="618888"/>
            </a:xfrm>
            <a:solidFill>
              <a:schemeClr val="bg1"/>
            </a:solidFill>
          </p:grpSpPr>
          <p:sp>
            <p:nvSpPr>
              <p:cNvPr id="39" name="Freeform 67"/>
              <p:cNvSpPr>
                <a:spLocks noChangeArrowheads="1"/>
              </p:cNvSpPr>
              <p:nvPr/>
            </p:nvSpPr>
            <p:spPr bwMode="auto">
              <a:xfrm>
                <a:off x="2704225" y="4779511"/>
                <a:ext cx="117056" cy="117086"/>
              </a:xfrm>
              <a:custGeom>
                <a:avLst/>
                <a:gdLst>
                  <a:gd name="T0" fmla="*/ 0 w 123"/>
                  <a:gd name="T1" fmla="*/ 122 h 123"/>
                  <a:gd name="T2" fmla="*/ 0 w 123"/>
                  <a:gd name="T3" fmla="*/ 122 h 123"/>
                  <a:gd name="T4" fmla="*/ 122 w 123"/>
                  <a:gd name="T5" fmla="*/ 122 h 123"/>
                  <a:gd name="T6" fmla="*/ 122 w 123"/>
                  <a:gd name="T7" fmla="*/ 0 h 123"/>
                  <a:gd name="T8" fmla="*/ 0 w 123"/>
                  <a:gd name="T9" fmla="*/ 122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3" h="123">
                    <a:moveTo>
                      <a:pt x="0" y="122"/>
                    </a:moveTo>
                    <a:lnTo>
                      <a:pt x="0" y="122"/>
                    </a:lnTo>
                    <a:cubicBezTo>
                      <a:pt x="122" y="122"/>
                      <a:pt x="122" y="122"/>
                      <a:pt x="122" y="122"/>
                    </a:cubicBezTo>
                    <a:cubicBezTo>
                      <a:pt x="122" y="0"/>
                      <a:pt x="122" y="0"/>
                      <a:pt x="122" y="0"/>
                    </a:cubicBezTo>
                    <a:cubicBezTo>
                      <a:pt x="68" y="0"/>
                      <a:pt x="26" y="54"/>
                      <a:pt x="0" y="122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40" name="Freeform 68"/>
              <p:cNvSpPr>
                <a:spLocks noChangeArrowheads="1"/>
              </p:cNvSpPr>
              <p:nvPr/>
            </p:nvSpPr>
            <p:spPr bwMode="auto">
              <a:xfrm>
                <a:off x="2666603" y="4934235"/>
                <a:ext cx="154681" cy="129630"/>
              </a:xfrm>
              <a:custGeom>
                <a:avLst/>
                <a:gdLst>
                  <a:gd name="T0" fmla="*/ 163 w 164"/>
                  <a:gd name="T1" fmla="*/ 136 h 137"/>
                  <a:gd name="T2" fmla="*/ 163 w 164"/>
                  <a:gd name="T3" fmla="*/ 136 h 137"/>
                  <a:gd name="T4" fmla="*/ 163 w 164"/>
                  <a:gd name="T5" fmla="*/ 0 h 137"/>
                  <a:gd name="T6" fmla="*/ 27 w 164"/>
                  <a:gd name="T7" fmla="*/ 0 h 137"/>
                  <a:gd name="T8" fmla="*/ 0 w 164"/>
                  <a:gd name="T9" fmla="*/ 136 h 137"/>
                  <a:gd name="T10" fmla="*/ 163 w 164"/>
                  <a:gd name="T11" fmla="*/ 136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4" h="137">
                    <a:moveTo>
                      <a:pt x="163" y="136"/>
                    </a:moveTo>
                    <a:lnTo>
                      <a:pt x="163" y="136"/>
                    </a:lnTo>
                    <a:cubicBezTo>
                      <a:pt x="163" y="0"/>
                      <a:pt x="163" y="0"/>
                      <a:pt x="163" y="0"/>
                    </a:cubicBezTo>
                    <a:cubicBezTo>
                      <a:pt x="27" y="0"/>
                      <a:pt x="27" y="0"/>
                      <a:pt x="27" y="0"/>
                    </a:cubicBezTo>
                    <a:cubicBezTo>
                      <a:pt x="13" y="40"/>
                      <a:pt x="0" y="82"/>
                      <a:pt x="0" y="136"/>
                    </a:cubicBezTo>
                    <a:lnTo>
                      <a:pt x="163" y="136"/>
                    </a:ln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41" name="Freeform 69"/>
              <p:cNvSpPr>
                <a:spLocks noChangeArrowheads="1"/>
              </p:cNvSpPr>
              <p:nvPr/>
            </p:nvSpPr>
            <p:spPr bwMode="auto">
              <a:xfrm>
                <a:off x="2850546" y="4779511"/>
                <a:ext cx="117056" cy="117086"/>
              </a:xfrm>
              <a:custGeom>
                <a:avLst/>
                <a:gdLst>
                  <a:gd name="T0" fmla="*/ 0 w 122"/>
                  <a:gd name="T1" fmla="*/ 0 h 123"/>
                  <a:gd name="T2" fmla="*/ 0 w 122"/>
                  <a:gd name="T3" fmla="*/ 0 h 123"/>
                  <a:gd name="T4" fmla="*/ 0 w 122"/>
                  <a:gd name="T5" fmla="*/ 122 h 123"/>
                  <a:gd name="T6" fmla="*/ 121 w 122"/>
                  <a:gd name="T7" fmla="*/ 122 h 123"/>
                  <a:gd name="T8" fmla="*/ 0 w 122"/>
                  <a:gd name="T9" fmla="*/ 0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2" h="123">
                    <a:moveTo>
                      <a:pt x="0" y="0"/>
                    </a:moveTo>
                    <a:lnTo>
                      <a:pt x="0" y="0"/>
                    </a:lnTo>
                    <a:cubicBezTo>
                      <a:pt x="0" y="122"/>
                      <a:pt x="0" y="122"/>
                      <a:pt x="0" y="122"/>
                    </a:cubicBezTo>
                    <a:cubicBezTo>
                      <a:pt x="121" y="122"/>
                      <a:pt x="121" y="122"/>
                      <a:pt x="121" y="122"/>
                    </a:cubicBezTo>
                    <a:cubicBezTo>
                      <a:pt x="95" y="54"/>
                      <a:pt x="41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42" name="Freeform 70"/>
              <p:cNvSpPr>
                <a:spLocks noChangeArrowheads="1"/>
              </p:cNvSpPr>
              <p:nvPr/>
            </p:nvSpPr>
            <p:spPr bwMode="auto">
              <a:xfrm>
                <a:off x="2524463" y="5088955"/>
                <a:ext cx="142140" cy="142175"/>
              </a:xfrm>
              <a:custGeom>
                <a:avLst/>
                <a:gdLst>
                  <a:gd name="T0" fmla="*/ 122 w 151"/>
                  <a:gd name="T1" fmla="*/ 0 h 150"/>
                  <a:gd name="T2" fmla="*/ 122 w 151"/>
                  <a:gd name="T3" fmla="*/ 0 h 150"/>
                  <a:gd name="T4" fmla="*/ 0 w 151"/>
                  <a:gd name="T5" fmla="*/ 0 h 150"/>
                  <a:gd name="T6" fmla="*/ 42 w 151"/>
                  <a:gd name="T7" fmla="*/ 149 h 150"/>
                  <a:gd name="T8" fmla="*/ 42 w 151"/>
                  <a:gd name="T9" fmla="*/ 149 h 150"/>
                  <a:gd name="T10" fmla="*/ 150 w 151"/>
                  <a:gd name="T11" fmla="*/ 149 h 150"/>
                  <a:gd name="T12" fmla="*/ 122 w 151"/>
                  <a:gd name="T13" fmla="*/ 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1" h="150">
                    <a:moveTo>
                      <a:pt x="122" y="0"/>
                    </a:moveTo>
                    <a:lnTo>
                      <a:pt x="122" y="0"/>
                    </a:lnTo>
                    <a:cubicBezTo>
                      <a:pt x="0" y="0"/>
                      <a:pt x="0" y="0"/>
                      <a:pt x="0" y="0"/>
                    </a:cubicBezTo>
                    <a:cubicBezTo>
                      <a:pt x="0" y="54"/>
                      <a:pt x="14" y="109"/>
                      <a:pt x="42" y="149"/>
                    </a:cubicBezTo>
                    <a:lnTo>
                      <a:pt x="42" y="149"/>
                    </a:lnTo>
                    <a:cubicBezTo>
                      <a:pt x="150" y="149"/>
                      <a:pt x="150" y="149"/>
                      <a:pt x="150" y="149"/>
                    </a:cubicBezTo>
                    <a:cubicBezTo>
                      <a:pt x="136" y="109"/>
                      <a:pt x="122" y="54"/>
                      <a:pt x="122" y="0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43" name="Freeform 71"/>
              <p:cNvSpPr>
                <a:spLocks noChangeArrowheads="1"/>
              </p:cNvSpPr>
              <p:nvPr/>
            </p:nvSpPr>
            <p:spPr bwMode="auto">
              <a:xfrm>
                <a:off x="3001048" y="5088955"/>
                <a:ext cx="142140" cy="142175"/>
              </a:xfrm>
              <a:custGeom>
                <a:avLst/>
                <a:gdLst>
                  <a:gd name="T0" fmla="*/ 14 w 150"/>
                  <a:gd name="T1" fmla="*/ 0 h 150"/>
                  <a:gd name="T2" fmla="*/ 14 w 150"/>
                  <a:gd name="T3" fmla="*/ 0 h 150"/>
                  <a:gd name="T4" fmla="*/ 0 w 150"/>
                  <a:gd name="T5" fmla="*/ 149 h 150"/>
                  <a:gd name="T6" fmla="*/ 95 w 150"/>
                  <a:gd name="T7" fmla="*/ 149 h 150"/>
                  <a:gd name="T8" fmla="*/ 109 w 150"/>
                  <a:gd name="T9" fmla="*/ 149 h 150"/>
                  <a:gd name="T10" fmla="*/ 149 w 150"/>
                  <a:gd name="T11" fmla="*/ 0 h 150"/>
                  <a:gd name="T12" fmla="*/ 14 w 150"/>
                  <a:gd name="T13" fmla="*/ 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0" h="150">
                    <a:moveTo>
                      <a:pt x="14" y="0"/>
                    </a:moveTo>
                    <a:lnTo>
                      <a:pt x="14" y="0"/>
                    </a:lnTo>
                    <a:cubicBezTo>
                      <a:pt x="14" y="54"/>
                      <a:pt x="0" y="109"/>
                      <a:pt x="0" y="149"/>
                    </a:cubicBezTo>
                    <a:cubicBezTo>
                      <a:pt x="95" y="149"/>
                      <a:pt x="95" y="149"/>
                      <a:pt x="95" y="149"/>
                    </a:cubicBezTo>
                    <a:lnTo>
                      <a:pt x="109" y="149"/>
                    </a:lnTo>
                    <a:cubicBezTo>
                      <a:pt x="122" y="109"/>
                      <a:pt x="149" y="54"/>
                      <a:pt x="149" y="0"/>
                    </a:cubicBezTo>
                    <a:lnTo>
                      <a:pt x="14" y="0"/>
                    </a:ln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44" name="Freeform 72"/>
              <p:cNvSpPr>
                <a:spLocks noChangeArrowheads="1"/>
              </p:cNvSpPr>
              <p:nvPr/>
            </p:nvSpPr>
            <p:spPr bwMode="auto">
              <a:xfrm>
                <a:off x="2666603" y="5088955"/>
                <a:ext cx="154681" cy="142175"/>
              </a:xfrm>
              <a:custGeom>
                <a:avLst/>
                <a:gdLst>
                  <a:gd name="T0" fmla="*/ 163 w 164"/>
                  <a:gd name="T1" fmla="*/ 0 h 150"/>
                  <a:gd name="T2" fmla="*/ 163 w 164"/>
                  <a:gd name="T3" fmla="*/ 0 h 150"/>
                  <a:gd name="T4" fmla="*/ 0 w 164"/>
                  <a:gd name="T5" fmla="*/ 0 h 150"/>
                  <a:gd name="T6" fmla="*/ 27 w 164"/>
                  <a:gd name="T7" fmla="*/ 149 h 150"/>
                  <a:gd name="T8" fmla="*/ 163 w 164"/>
                  <a:gd name="T9" fmla="*/ 149 h 150"/>
                  <a:gd name="T10" fmla="*/ 163 w 164"/>
                  <a:gd name="T11" fmla="*/ 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4" h="150">
                    <a:moveTo>
                      <a:pt x="163" y="0"/>
                    </a:moveTo>
                    <a:lnTo>
                      <a:pt x="163" y="0"/>
                    </a:lnTo>
                    <a:cubicBezTo>
                      <a:pt x="0" y="0"/>
                      <a:pt x="0" y="0"/>
                      <a:pt x="0" y="0"/>
                    </a:cubicBezTo>
                    <a:cubicBezTo>
                      <a:pt x="0" y="54"/>
                      <a:pt x="13" y="109"/>
                      <a:pt x="27" y="149"/>
                    </a:cubicBezTo>
                    <a:cubicBezTo>
                      <a:pt x="163" y="149"/>
                      <a:pt x="163" y="149"/>
                      <a:pt x="163" y="149"/>
                    </a:cubicBezTo>
                    <a:lnTo>
                      <a:pt x="163" y="0"/>
                    </a:ln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45" name="Freeform 73"/>
              <p:cNvSpPr>
                <a:spLocks noChangeArrowheads="1"/>
              </p:cNvSpPr>
              <p:nvPr/>
            </p:nvSpPr>
            <p:spPr bwMode="auto">
              <a:xfrm>
                <a:off x="2524463" y="4921688"/>
                <a:ext cx="142140" cy="142175"/>
              </a:xfrm>
              <a:custGeom>
                <a:avLst/>
                <a:gdLst>
                  <a:gd name="T0" fmla="*/ 122 w 151"/>
                  <a:gd name="T1" fmla="*/ 150 h 151"/>
                  <a:gd name="T2" fmla="*/ 122 w 151"/>
                  <a:gd name="T3" fmla="*/ 150 h 151"/>
                  <a:gd name="T4" fmla="*/ 150 w 151"/>
                  <a:gd name="T5" fmla="*/ 14 h 151"/>
                  <a:gd name="T6" fmla="*/ 42 w 151"/>
                  <a:gd name="T7" fmla="*/ 14 h 151"/>
                  <a:gd name="T8" fmla="*/ 42 w 151"/>
                  <a:gd name="T9" fmla="*/ 0 h 151"/>
                  <a:gd name="T10" fmla="*/ 0 w 151"/>
                  <a:gd name="T11" fmla="*/ 150 h 151"/>
                  <a:gd name="T12" fmla="*/ 122 w 151"/>
                  <a:gd name="T13" fmla="*/ 150 h 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1" h="151">
                    <a:moveTo>
                      <a:pt x="122" y="150"/>
                    </a:moveTo>
                    <a:lnTo>
                      <a:pt x="122" y="150"/>
                    </a:lnTo>
                    <a:cubicBezTo>
                      <a:pt x="122" y="96"/>
                      <a:pt x="136" y="54"/>
                      <a:pt x="150" y="14"/>
                    </a:cubicBezTo>
                    <a:cubicBezTo>
                      <a:pt x="42" y="14"/>
                      <a:pt x="42" y="14"/>
                      <a:pt x="42" y="14"/>
                    </a:cubicBezTo>
                    <a:lnTo>
                      <a:pt x="42" y="0"/>
                    </a:lnTo>
                    <a:cubicBezTo>
                      <a:pt x="14" y="54"/>
                      <a:pt x="0" y="96"/>
                      <a:pt x="0" y="150"/>
                    </a:cubicBezTo>
                    <a:lnTo>
                      <a:pt x="122" y="150"/>
                    </a:ln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46" name="Freeform 74"/>
              <p:cNvSpPr>
                <a:spLocks noChangeArrowheads="1"/>
              </p:cNvSpPr>
              <p:nvPr/>
            </p:nvSpPr>
            <p:spPr bwMode="auto">
              <a:xfrm>
                <a:off x="2850547" y="4934235"/>
                <a:ext cx="142140" cy="129630"/>
              </a:xfrm>
              <a:custGeom>
                <a:avLst/>
                <a:gdLst>
                  <a:gd name="T0" fmla="*/ 149 w 150"/>
                  <a:gd name="T1" fmla="*/ 136 h 137"/>
                  <a:gd name="T2" fmla="*/ 149 w 150"/>
                  <a:gd name="T3" fmla="*/ 136 h 137"/>
                  <a:gd name="T4" fmla="*/ 121 w 150"/>
                  <a:gd name="T5" fmla="*/ 0 h 137"/>
                  <a:gd name="T6" fmla="*/ 0 w 150"/>
                  <a:gd name="T7" fmla="*/ 0 h 137"/>
                  <a:gd name="T8" fmla="*/ 0 w 150"/>
                  <a:gd name="T9" fmla="*/ 136 h 137"/>
                  <a:gd name="T10" fmla="*/ 149 w 150"/>
                  <a:gd name="T11" fmla="*/ 136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0" h="137">
                    <a:moveTo>
                      <a:pt x="149" y="136"/>
                    </a:moveTo>
                    <a:lnTo>
                      <a:pt x="149" y="136"/>
                    </a:lnTo>
                    <a:cubicBezTo>
                      <a:pt x="149" y="82"/>
                      <a:pt x="135" y="40"/>
                      <a:pt x="12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36"/>
                      <a:pt x="0" y="136"/>
                      <a:pt x="0" y="136"/>
                    </a:cubicBezTo>
                    <a:lnTo>
                      <a:pt x="149" y="136"/>
                    </a:ln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47" name="Freeform 75"/>
              <p:cNvSpPr>
                <a:spLocks noChangeArrowheads="1"/>
              </p:cNvSpPr>
              <p:nvPr/>
            </p:nvSpPr>
            <p:spPr bwMode="auto">
              <a:xfrm>
                <a:off x="2574630" y="4766967"/>
                <a:ext cx="183944" cy="129630"/>
              </a:xfrm>
              <a:custGeom>
                <a:avLst/>
                <a:gdLst>
                  <a:gd name="T0" fmla="*/ 109 w 192"/>
                  <a:gd name="T1" fmla="*/ 136 h 137"/>
                  <a:gd name="T2" fmla="*/ 109 w 192"/>
                  <a:gd name="T3" fmla="*/ 136 h 137"/>
                  <a:gd name="T4" fmla="*/ 191 w 192"/>
                  <a:gd name="T5" fmla="*/ 0 h 137"/>
                  <a:gd name="T6" fmla="*/ 0 w 192"/>
                  <a:gd name="T7" fmla="*/ 136 h 137"/>
                  <a:gd name="T8" fmla="*/ 109 w 192"/>
                  <a:gd name="T9" fmla="*/ 136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2" h="137">
                    <a:moveTo>
                      <a:pt x="109" y="136"/>
                    </a:moveTo>
                    <a:lnTo>
                      <a:pt x="109" y="136"/>
                    </a:lnTo>
                    <a:cubicBezTo>
                      <a:pt x="123" y="82"/>
                      <a:pt x="151" y="28"/>
                      <a:pt x="191" y="0"/>
                    </a:cubicBezTo>
                    <a:cubicBezTo>
                      <a:pt x="109" y="28"/>
                      <a:pt x="42" y="82"/>
                      <a:pt x="0" y="136"/>
                    </a:cubicBezTo>
                    <a:lnTo>
                      <a:pt x="109" y="136"/>
                    </a:ln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48" name="Freeform 76"/>
              <p:cNvSpPr>
                <a:spLocks noChangeArrowheads="1"/>
              </p:cNvSpPr>
              <p:nvPr/>
            </p:nvSpPr>
            <p:spPr bwMode="auto">
              <a:xfrm>
                <a:off x="2574630" y="5256222"/>
                <a:ext cx="183944" cy="129633"/>
              </a:xfrm>
              <a:custGeom>
                <a:avLst/>
                <a:gdLst>
                  <a:gd name="T0" fmla="*/ 109 w 192"/>
                  <a:gd name="T1" fmla="*/ 0 h 136"/>
                  <a:gd name="T2" fmla="*/ 109 w 192"/>
                  <a:gd name="T3" fmla="*/ 0 h 136"/>
                  <a:gd name="T4" fmla="*/ 0 w 192"/>
                  <a:gd name="T5" fmla="*/ 0 h 136"/>
                  <a:gd name="T6" fmla="*/ 191 w 192"/>
                  <a:gd name="T7" fmla="*/ 135 h 136"/>
                  <a:gd name="T8" fmla="*/ 109 w 192"/>
                  <a:gd name="T9" fmla="*/ 0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2" h="136">
                    <a:moveTo>
                      <a:pt x="109" y="0"/>
                    </a:moveTo>
                    <a:lnTo>
                      <a:pt x="109" y="0"/>
                    </a:lnTo>
                    <a:cubicBezTo>
                      <a:pt x="0" y="0"/>
                      <a:pt x="0" y="0"/>
                      <a:pt x="0" y="0"/>
                    </a:cubicBezTo>
                    <a:cubicBezTo>
                      <a:pt x="42" y="67"/>
                      <a:pt x="109" y="121"/>
                      <a:pt x="191" y="135"/>
                    </a:cubicBezTo>
                    <a:cubicBezTo>
                      <a:pt x="151" y="109"/>
                      <a:pt x="123" y="67"/>
                      <a:pt x="109" y="0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49" name="Freeform 77"/>
              <p:cNvSpPr>
                <a:spLocks noChangeArrowheads="1"/>
              </p:cNvSpPr>
              <p:nvPr/>
            </p:nvSpPr>
            <p:spPr bwMode="auto">
              <a:xfrm>
                <a:off x="2900713" y="4766967"/>
                <a:ext cx="179762" cy="129630"/>
              </a:xfrm>
              <a:custGeom>
                <a:avLst/>
                <a:gdLst>
                  <a:gd name="T0" fmla="*/ 95 w 191"/>
                  <a:gd name="T1" fmla="*/ 136 h 137"/>
                  <a:gd name="T2" fmla="*/ 95 w 191"/>
                  <a:gd name="T3" fmla="*/ 136 h 137"/>
                  <a:gd name="T4" fmla="*/ 190 w 191"/>
                  <a:gd name="T5" fmla="*/ 136 h 137"/>
                  <a:gd name="T6" fmla="*/ 0 w 191"/>
                  <a:gd name="T7" fmla="*/ 0 h 137"/>
                  <a:gd name="T8" fmla="*/ 95 w 191"/>
                  <a:gd name="T9" fmla="*/ 136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1" h="137">
                    <a:moveTo>
                      <a:pt x="95" y="136"/>
                    </a:moveTo>
                    <a:lnTo>
                      <a:pt x="95" y="136"/>
                    </a:lnTo>
                    <a:cubicBezTo>
                      <a:pt x="190" y="136"/>
                      <a:pt x="190" y="136"/>
                      <a:pt x="190" y="136"/>
                    </a:cubicBezTo>
                    <a:cubicBezTo>
                      <a:pt x="150" y="82"/>
                      <a:pt x="81" y="28"/>
                      <a:pt x="0" y="0"/>
                    </a:cubicBezTo>
                    <a:cubicBezTo>
                      <a:pt x="41" y="28"/>
                      <a:pt x="67" y="82"/>
                      <a:pt x="95" y="136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50" name="Freeform 78"/>
              <p:cNvSpPr>
                <a:spLocks noChangeArrowheads="1"/>
              </p:cNvSpPr>
              <p:nvPr/>
            </p:nvSpPr>
            <p:spPr bwMode="auto">
              <a:xfrm>
                <a:off x="2900713" y="5256222"/>
                <a:ext cx="179762" cy="129633"/>
              </a:xfrm>
              <a:custGeom>
                <a:avLst/>
                <a:gdLst>
                  <a:gd name="T0" fmla="*/ 95 w 191"/>
                  <a:gd name="T1" fmla="*/ 0 h 136"/>
                  <a:gd name="T2" fmla="*/ 95 w 191"/>
                  <a:gd name="T3" fmla="*/ 0 h 136"/>
                  <a:gd name="T4" fmla="*/ 0 w 191"/>
                  <a:gd name="T5" fmla="*/ 135 h 136"/>
                  <a:gd name="T6" fmla="*/ 190 w 191"/>
                  <a:gd name="T7" fmla="*/ 0 h 136"/>
                  <a:gd name="T8" fmla="*/ 95 w 191"/>
                  <a:gd name="T9" fmla="*/ 0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1" h="136">
                    <a:moveTo>
                      <a:pt x="95" y="0"/>
                    </a:moveTo>
                    <a:lnTo>
                      <a:pt x="95" y="0"/>
                    </a:lnTo>
                    <a:cubicBezTo>
                      <a:pt x="67" y="67"/>
                      <a:pt x="41" y="109"/>
                      <a:pt x="0" y="135"/>
                    </a:cubicBezTo>
                    <a:cubicBezTo>
                      <a:pt x="81" y="121"/>
                      <a:pt x="150" y="67"/>
                      <a:pt x="190" y="0"/>
                    </a:cubicBezTo>
                    <a:lnTo>
                      <a:pt x="95" y="0"/>
                    </a:ln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51" name="Freeform 79"/>
              <p:cNvSpPr>
                <a:spLocks noChangeArrowheads="1"/>
              </p:cNvSpPr>
              <p:nvPr/>
            </p:nvSpPr>
            <p:spPr bwMode="auto">
              <a:xfrm>
                <a:off x="3001048" y="4921688"/>
                <a:ext cx="142140" cy="142175"/>
              </a:xfrm>
              <a:custGeom>
                <a:avLst/>
                <a:gdLst>
                  <a:gd name="T0" fmla="*/ 95 w 150"/>
                  <a:gd name="T1" fmla="*/ 14 h 151"/>
                  <a:gd name="T2" fmla="*/ 95 w 150"/>
                  <a:gd name="T3" fmla="*/ 14 h 151"/>
                  <a:gd name="T4" fmla="*/ 0 w 150"/>
                  <a:gd name="T5" fmla="*/ 14 h 151"/>
                  <a:gd name="T6" fmla="*/ 14 w 150"/>
                  <a:gd name="T7" fmla="*/ 150 h 151"/>
                  <a:gd name="T8" fmla="*/ 149 w 150"/>
                  <a:gd name="T9" fmla="*/ 150 h 151"/>
                  <a:gd name="T10" fmla="*/ 109 w 150"/>
                  <a:gd name="T11" fmla="*/ 0 h 151"/>
                  <a:gd name="T12" fmla="*/ 95 w 150"/>
                  <a:gd name="T13" fmla="*/ 14 h 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0" h="151">
                    <a:moveTo>
                      <a:pt x="95" y="14"/>
                    </a:moveTo>
                    <a:lnTo>
                      <a:pt x="95" y="14"/>
                    </a:lnTo>
                    <a:cubicBezTo>
                      <a:pt x="0" y="14"/>
                      <a:pt x="0" y="14"/>
                      <a:pt x="0" y="14"/>
                    </a:cubicBezTo>
                    <a:cubicBezTo>
                      <a:pt x="0" y="54"/>
                      <a:pt x="14" y="96"/>
                      <a:pt x="14" y="150"/>
                    </a:cubicBezTo>
                    <a:cubicBezTo>
                      <a:pt x="149" y="150"/>
                      <a:pt x="149" y="150"/>
                      <a:pt x="149" y="150"/>
                    </a:cubicBezTo>
                    <a:cubicBezTo>
                      <a:pt x="149" y="96"/>
                      <a:pt x="122" y="54"/>
                      <a:pt x="109" y="0"/>
                    </a:cubicBezTo>
                    <a:lnTo>
                      <a:pt x="95" y="14"/>
                    </a:ln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52" name="Freeform 80"/>
              <p:cNvSpPr>
                <a:spLocks noChangeArrowheads="1"/>
              </p:cNvSpPr>
              <p:nvPr/>
            </p:nvSpPr>
            <p:spPr bwMode="auto">
              <a:xfrm>
                <a:off x="2850546" y="5256222"/>
                <a:ext cx="117056" cy="129633"/>
              </a:xfrm>
              <a:custGeom>
                <a:avLst/>
                <a:gdLst>
                  <a:gd name="T0" fmla="*/ 121 w 122"/>
                  <a:gd name="T1" fmla="*/ 0 h 136"/>
                  <a:gd name="T2" fmla="*/ 121 w 122"/>
                  <a:gd name="T3" fmla="*/ 0 h 136"/>
                  <a:gd name="T4" fmla="*/ 0 w 122"/>
                  <a:gd name="T5" fmla="*/ 0 h 136"/>
                  <a:gd name="T6" fmla="*/ 0 w 122"/>
                  <a:gd name="T7" fmla="*/ 135 h 136"/>
                  <a:gd name="T8" fmla="*/ 121 w 122"/>
                  <a:gd name="T9" fmla="*/ 0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2" h="136">
                    <a:moveTo>
                      <a:pt x="121" y="0"/>
                    </a:moveTo>
                    <a:lnTo>
                      <a:pt x="121" y="0"/>
                    </a:lnTo>
                    <a:cubicBezTo>
                      <a:pt x="0" y="0"/>
                      <a:pt x="0" y="0"/>
                      <a:pt x="0" y="0"/>
                    </a:cubicBezTo>
                    <a:cubicBezTo>
                      <a:pt x="0" y="135"/>
                      <a:pt x="0" y="135"/>
                      <a:pt x="0" y="135"/>
                    </a:cubicBezTo>
                    <a:cubicBezTo>
                      <a:pt x="41" y="135"/>
                      <a:pt x="95" y="81"/>
                      <a:pt x="121" y="0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53" name="Freeform 81"/>
              <p:cNvSpPr>
                <a:spLocks noChangeArrowheads="1"/>
              </p:cNvSpPr>
              <p:nvPr/>
            </p:nvSpPr>
            <p:spPr bwMode="auto">
              <a:xfrm>
                <a:off x="2850547" y="5088955"/>
                <a:ext cx="142140" cy="142175"/>
              </a:xfrm>
              <a:custGeom>
                <a:avLst/>
                <a:gdLst>
                  <a:gd name="T0" fmla="*/ 0 w 150"/>
                  <a:gd name="T1" fmla="*/ 0 h 150"/>
                  <a:gd name="T2" fmla="*/ 0 w 150"/>
                  <a:gd name="T3" fmla="*/ 0 h 150"/>
                  <a:gd name="T4" fmla="*/ 0 w 150"/>
                  <a:gd name="T5" fmla="*/ 149 h 150"/>
                  <a:gd name="T6" fmla="*/ 121 w 150"/>
                  <a:gd name="T7" fmla="*/ 149 h 150"/>
                  <a:gd name="T8" fmla="*/ 149 w 150"/>
                  <a:gd name="T9" fmla="*/ 0 h 150"/>
                  <a:gd name="T10" fmla="*/ 0 w 150"/>
                  <a:gd name="T11" fmla="*/ 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0" h="150">
                    <a:moveTo>
                      <a:pt x="0" y="0"/>
                    </a:moveTo>
                    <a:lnTo>
                      <a:pt x="0" y="0"/>
                    </a:lnTo>
                    <a:cubicBezTo>
                      <a:pt x="0" y="149"/>
                      <a:pt x="0" y="149"/>
                      <a:pt x="0" y="149"/>
                    </a:cubicBezTo>
                    <a:cubicBezTo>
                      <a:pt x="121" y="149"/>
                      <a:pt x="121" y="149"/>
                      <a:pt x="121" y="149"/>
                    </a:cubicBezTo>
                    <a:cubicBezTo>
                      <a:pt x="135" y="109"/>
                      <a:pt x="149" y="54"/>
                      <a:pt x="149" y="0"/>
                    </a:cubicBezTo>
                    <a:lnTo>
                      <a:pt x="0" y="0"/>
                    </a:ln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54" name="Freeform 82"/>
              <p:cNvSpPr>
                <a:spLocks noChangeArrowheads="1"/>
              </p:cNvSpPr>
              <p:nvPr/>
            </p:nvSpPr>
            <p:spPr bwMode="auto">
              <a:xfrm>
                <a:off x="2704225" y="5256222"/>
                <a:ext cx="117056" cy="129633"/>
              </a:xfrm>
              <a:custGeom>
                <a:avLst/>
                <a:gdLst>
                  <a:gd name="T0" fmla="*/ 122 w 123"/>
                  <a:gd name="T1" fmla="*/ 135 h 136"/>
                  <a:gd name="T2" fmla="*/ 122 w 123"/>
                  <a:gd name="T3" fmla="*/ 135 h 136"/>
                  <a:gd name="T4" fmla="*/ 122 w 123"/>
                  <a:gd name="T5" fmla="*/ 0 h 136"/>
                  <a:gd name="T6" fmla="*/ 0 w 123"/>
                  <a:gd name="T7" fmla="*/ 0 h 136"/>
                  <a:gd name="T8" fmla="*/ 122 w 123"/>
                  <a:gd name="T9" fmla="*/ 135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3" h="136">
                    <a:moveTo>
                      <a:pt x="122" y="135"/>
                    </a:moveTo>
                    <a:lnTo>
                      <a:pt x="122" y="135"/>
                    </a:lnTo>
                    <a:cubicBezTo>
                      <a:pt x="122" y="0"/>
                      <a:pt x="122" y="0"/>
                      <a:pt x="12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6" y="81"/>
                      <a:pt x="68" y="135"/>
                      <a:pt x="122" y="135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</p:grpSp>
        <p:sp>
          <p:nvSpPr>
            <p:cNvPr id="21" name="Freeform 182"/>
            <p:cNvSpPr>
              <a:spLocks noChangeArrowheads="1"/>
            </p:cNvSpPr>
            <p:nvPr/>
          </p:nvSpPr>
          <p:spPr bwMode="auto">
            <a:xfrm>
              <a:off x="13169449" y="9706778"/>
              <a:ext cx="823591" cy="823914"/>
            </a:xfrm>
            <a:custGeom>
              <a:avLst/>
              <a:gdLst>
                <a:gd name="T0" fmla="*/ 822259 w 654"/>
                <a:gd name="T1" fmla="*/ 0 h 654"/>
                <a:gd name="T2" fmla="*/ 0 w 654"/>
                <a:gd name="T3" fmla="*/ 17633 h 654"/>
                <a:gd name="T4" fmla="*/ 0 w 654"/>
                <a:gd name="T5" fmla="*/ 822474 h 654"/>
                <a:gd name="T6" fmla="*/ 342503 w 654"/>
                <a:gd name="T7" fmla="*/ 822474 h 654"/>
                <a:gd name="T8" fmla="*/ 478497 w 654"/>
                <a:gd name="T9" fmla="*/ 566789 h 654"/>
                <a:gd name="T10" fmla="*/ 478497 w 654"/>
                <a:gd name="T11" fmla="*/ 822474 h 654"/>
                <a:gd name="T12" fmla="*/ 822259 w 654"/>
                <a:gd name="T13" fmla="*/ 822474 h 654"/>
                <a:gd name="T14" fmla="*/ 822259 w 654"/>
                <a:gd name="T15" fmla="*/ 0 h 654"/>
                <a:gd name="T16" fmla="*/ 222879 w 654"/>
                <a:gd name="T17" fmla="*/ 566789 h 654"/>
                <a:gd name="T18" fmla="*/ 101995 w 654"/>
                <a:gd name="T19" fmla="*/ 702819 h 654"/>
                <a:gd name="T20" fmla="*/ 222879 w 654"/>
                <a:gd name="T21" fmla="*/ 566789 h 654"/>
                <a:gd name="T22" fmla="*/ 101995 w 654"/>
                <a:gd name="T23" fmla="*/ 463508 h 654"/>
                <a:gd name="T24" fmla="*/ 222879 w 654"/>
                <a:gd name="T25" fmla="*/ 326219 h 654"/>
                <a:gd name="T26" fmla="*/ 101995 w 654"/>
                <a:gd name="T27" fmla="*/ 463508 h 654"/>
                <a:gd name="T28" fmla="*/ 101995 w 654"/>
                <a:gd name="T29" fmla="*/ 222937 h 654"/>
                <a:gd name="T30" fmla="*/ 222879 w 654"/>
                <a:gd name="T31" fmla="*/ 85648 h 654"/>
                <a:gd name="T32" fmla="*/ 101995 w 654"/>
                <a:gd name="T33" fmla="*/ 222937 h 654"/>
                <a:gd name="T34" fmla="*/ 478497 w 654"/>
                <a:gd name="T35" fmla="*/ 326219 h 654"/>
                <a:gd name="T36" fmla="*/ 342503 w 654"/>
                <a:gd name="T37" fmla="*/ 463508 h 654"/>
                <a:gd name="T38" fmla="*/ 478497 w 654"/>
                <a:gd name="T39" fmla="*/ 326219 h 654"/>
                <a:gd name="T40" fmla="*/ 342503 w 654"/>
                <a:gd name="T41" fmla="*/ 222937 h 654"/>
                <a:gd name="T42" fmla="*/ 478497 w 654"/>
                <a:gd name="T43" fmla="*/ 85648 h 654"/>
                <a:gd name="T44" fmla="*/ 342503 w 654"/>
                <a:gd name="T45" fmla="*/ 222937 h 654"/>
                <a:gd name="T46" fmla="*/ 719004 w 654"/>
                <a:gd name="T47" fmla="*/ 566789 h 654"/>
                <a:gd name="T48" fmla="*/ 599380 w 654"/>
                <a:gd name="T49" fmla="*/ 702819 h 654"/>
                <a:gd name="T50" fmla="*/ 719004 w 654"/>
                <a:gd name="T51" fmla="*/ 566789 h 654"/>
                <a:gd name="T52" fmla="*/ 599380 w 654"/>
                <a:gd name="T53" fmla="*/ 463508 h 654"/>
                <a:gd name="T54" fmla="*/ 719004 w 654"/>
                <a:gd name="T55" fmla="*/ 326219 h 654"/>
                <a:gd name="T56" fmla="*/ 599380 w 654"/>
                <a:gd name="T57" fmla="*/ 463508 h 654"/>
                <a:gd name="T58" fmla="*/ 599380 w 654"/>
                <a:gd name="T59" fmla="*/ 222937 h 654"/>
                <a:gd name="T60" fmla="*/ 719004 w 654"/>
                <a:gd name="T61" fmla="*/ 85648 h 654"/>
                <a:gd name="T62" fmla="*/ 599380 w 654"/>
                <a:gd name="T63" fmla="*/ 222937 h 654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654" h="654">
                  <a:moveTo>
                    <a:pt x="653" y="0"/>
                  </a:moveTo>
                  <a:lnTo>
                    <a:pt x="653" y="0"/>
                  </a:ln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4"/>
                  </a:cubicBezTo>
                  <a:cubicBezTo>
                    <a:pt x="0" y="653"/>
                    <a:pt x="0" y="653"/>
                    <a:pt x="0" y="653"/>
                  </a:cubicBezTo>
                  <a:cubicBezTo>
                    <a:pt x="272" y="653"/>
                    <a:pt x="272" y="653"/>
                    <a:pt x="272" y="653"/>
                  </a:cubicBezTo>
                  <a:cubicBezTo>
                    <a:pt x="272" y="450"/>
                    <a:pt x="272" y="450"/>
                    <a:pt x="272" y="450"/>
                  </a:cubicBezTo>
                  <a:cubicBezTo>
                    <a:pt x="380" y="450"/>
                    <a:pt x="380" y="450"/>
                    <a:pt x="380" y="450"/>
                  </a:cubicBezTo>
                  <a:cubicBezTo>
                    <a:pt x="380" y="653"/>
                    <a:pt x="380" y="653"/>
                    <a:pt x="380" y="653"/>
                  </a:cubicBezTo>
                  <a:cubicBezTo>
                    <a:pt x="653" y="653"/>
                    <a:pt x="653" y="653"/>
                    <a:pt x="653" y="653"/>
                  </a:cubicBezTo>
                  <a:cubicBezTo>
                    <a:pt x="653" y="14"/>
                    <a:pt x="653" y="14"/>
                    <a:pt x="653" y="14"/>
                  </a:cubicBezTo>
                  <a:cubicBezTo>
                    <a:pt x="653" y="0"/>
                    <a:pt x="653" y="0"/>
                    <a:pt x="653" y="0"/>
                  </a:cubicBezTo>
                  <a:close/>
                  <a:moveTo>
                    <a:pt x="177" y="450"/>
                  </a:moveTo>
                  <a:lnTo>
                    <a:pt x="177" y="450"/>
                  </a:lnTo>
                  <a:cubicBezTo>
                    <a:pt x="177" y="558"/>
                    <a:pt x="177" y="558"/>
                    <a:pt x="177" y="558"/>
                  </a:cubicBezTo>
                  <a:cubicBezTo>
                    <a:pt x="81" y="558"/>
                    <a:pt x="81" y="558"/>
                    <a:pt x="81" y="558"/>
                  </a:cubicBezTo>
                  <a:cubicBezTo>
                    <a:pt x="81" y="450"/>
                    <a:pt x="81" y="450"/>
                    <a:pt x="81" y="450"/>
                  </a:cubicBezTo>
                  <a:lnTo>
                    <a:pt x="177" y="450"/>
                  </a:lnTo>
                  <a:close/>
                  <a:moveTo>
                    <a:pt x="81" y="368"/>
                  </a:moveTo>
                  <a:lnTo>
                    <a:pt x="81" y="368"/>
                  </a:lnTo>
                  <a:cubicBezTo>
                    <a:pt x="81" y="259"/>
                    <a:pt x="81" y="259"/>
                    <a:pt x="81" y="259"/>
                  </a:cubicBezTo>
                  <a:cubicBezTo>
                    <a:pt x="177" y="259"/>
                    <a:pt x="177" y="259"/>
                    <a:pt x="177" y="259"/>
                  </a:cubicBezTo>
                  <a:cubicBezTo>
                    <a:pt x="177" y="368"/>
                    <a:pt x="177" y="368"/>
                    <a:pt x="177" y="368"/>
                  </a:cubicBezTo>
                  <a:lnTo>
                    <a:pt x="81" y="368"/>
                  </a:lnTo>
                  <a:close/>
                  <a:moveTo>
                    <a:pt x="81" y="177"/>
                  </a:moveTo>
                  <a:lnTo>
                    <a:pt x="81" y="177"/>
                  </a:lnTo>
                  <a:cubicBezTo>
                    <a:pt x="81" y="68"/>
                    <a:pt x="81" y="68"/>
                    <a:pt x="81" y="68"/>
                  </a:cubicBezTo>
                  <a:cubicBezTo>
                    <a:pt x="177" y="68"/>
                    <a:pt x="177" y="68"/>
                    <a:pt x="177" y="68"/>
                  </a:cubicBezTo>
                  <a:cubicBezTo>
                    <a:pt x="177" y="177"/>
                    <a:pt x="177" y="177"/>
                    <a:pt x="177" y="177"/>
                  </a:cubicBezTo>
                  <a:lnTo>
                    <a:pt x="81" y="177"/>
                  </a:lnTo>
                  <a:close/>
                  <a:moveTo>
                    <a:pt x="380" y="259"/>
                  </a:moveTo>
                  <a:lnTo>
                    <a:pt x="380" y="259"/>
                  </a:lnTo>
                  <a:cubicBezTo>
                    <a:pt x="380" y="368"/>
                    <a:pt x="380" y="368"/>
                    <a:pt x="380" y="368"/>
                  </a:cubicBezTo>
                  <a:cubicBezTo>
                    <a:pt x="272" y="368"/>
                    <a:pt x="272" y="368"/>
                    <a:pt x="272" y="368"/>
                  </a:cubicBezTo>
                  <a:cubicBezTo>
                    <a:pt x="272" y="259"/>
                    <a:pt x="272" y="259"/>
                    <a:pt x="272" y="259"/>
                  </a:cubicBezTo>
                  <a:lnTo>
                    <a:pt x="380" y="259"/>
                  </a:lnTo>
                  <a:close/>
                  <a:moveTo>
                    <a:pt x="272" y="177"/>
                  </a:moveTo>
                  <a:lnTo>
                    <a:pt x="272" y="177"/>
                  </a:lnTo>
                  <a:cubicBezTo>
                    <a:pt x="272" y="68"/>
                    <a:pt x="272" y="68"/>
                    <a:pt x="272" y="68"/>
                  </a:cubicBezTo>
                  <a:cubicBezTo>
                    <a:pt x="380" y="68"/>
                    <a:pt x="380" y="68"/>
                    <a:pt x="380" y="68"/>
                  </a:cubicBezTo>
                  <a:cubicBezTo>
                    <a:pt x="380" y="177"/>
                    <a:pt x="380" y="177"/>
                    <a:pt x="380" y="177"/>
                  </a:cubicBezTo>
                  <a:lnTo>
                    <a:pt x="272" y="177"/>
                  </a:lnTo>
                  <a:close/>
                  <a:moveTo>
                    <a:pt x="571" y="450"/>
                  </a:moveTo>
                  <a:lnTo>
                    <a:pt x="571" y="450"/>
                  </a:lnTo>
                  <a:cubicBezTo>
                    <a:pt x="571" y="558"/>
                    <a:pt x="571" y="558"/>
                    <a:pt x="571" y="558"/>
                  </a:cubicBezTo>
                  <a:cubicBezTo>
                    <a:pt x="476" y="558"/>
                    <a:pt x="476" y="558"/>
                    <a:pt x="476" y="558"/>
                  </a:cubicBezTo>
                  <a:cubicBezTo>
                    <a:pt x="476" y="450"/>
                    <a:pt x="476" y="450"/>
                    <a:pt x="476" y="450"/>
                  </a:cubicBezTo>
                  <a:lnTo>
                    <a:pt x="571" y="450"/>
                  </a:lnTo>
                  <a:close/>
                  <a:moveTo>
                    <a:pt x="476" y="368"/>
                  </a:moveTo>
                  <a:lnTo>
                    <a:pt x="476" y="368"/>
                  </a:lnTo>
                  <a:cubicBezTo>
                    <a:pt x="476" y="259"/>
                    <a:pt x="476" y="259"/>
                    <a:pt x="476" y="259"/>
                  </a:cubicBezTo>
                  <a:cubicBezTo>
                    <a:pt x="571" y="259"/>
                    <a:pt x="571" y="259"/>
                    <a:pt x="571" y="259"/>
                  </a:cubicBezTo>
                  <a:cubicBezTo>
                    <a:pt x="571" y="368"/>
                    <a:pt x="571" y="368"/>
                    <a:pt x="571" y="368"/>
                  </a:cubicBezTo>
                  <a:lnTo>
                    <a:pt x="476" y="368"/>
                  </a:lnTo>
                  <a:close/>
                  <a:moveTo>
                    <a:pt x="476" y="177"/>
                  </a:moveTo>
                  <a:lnTo>
                    <a:pt x="476" y="177"/>
                  </a:lnTo>
                  <a:cubicBezTo>
                    <a:pt x="476" y="68"/>
                    <a:pt x="476" y="68"/>
                    <a:pt x="476" y="68"/>
                  </a:cubicBezTo>
                  <a:cubicBezTo>
                    <a:pt x="571" y="68"/>
                    <a:pt x="571" y="68"/>
                    <a:pt x="571" y="68"/>
                  </a:cubicBezTo>
                  <a:cubicBezTo>
                    <a:pt x="571" y="177"/>
                    <a:pt x="571" y="177"/>
                    <a:pt x="571" y="177"/>
                  </a:cubicBezTo>
                  <a:lnTo>
                    <a:pt x="476" y="1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wrap="none" lIns="75868" tIns="37945" rIns="75868" bIns="37945" anchor="ctr"/>
            <a:lstStyle/>
            <a:p>
              <a:endParaRPr lang="en-US" sz="900">
                <a:latin typeface="Arial" panose="020B0604020202090204" pitchFamily="34" charset="0"/>
                <a:ea typeface="微软雅黑" panose="020B0503020204020204" pitchFamily="34" charset="-122"/>
                <a:cs typeface="Lato Light"/>
                <a:sym typeface="Arial" panose="020B0604020202090204" pitchFamily="34" charset="0"/>
              </a:endParaRPr>
            </a:p>
          </p:txBody>
        </p:sp>
        <p:grpSp>
          <p:nvGrpSpPr>
            <p:cNvPr id="22" name="Group 67"/>
            <p:cNvGrpSpPr/>
            <p:nvPr/>
          </p:nvGrpSpPr>
          <p:grpSpPr>
            <a:xfrm>
              <a:off x="15607551" y="9704047"/>
              <a:ext cx="789822" cy="829308"/>
              <a:chOff x="6550342" y="10834538"/>
              <a:chExt cx="593638" cy="623070"/>
            </a:xfrm>
            <a:solidFill>
              <a:srgbClr val="FFFFFF"/>
            </a:solidFill>
          </p:grpSpPr>
          <p:sp>
            <p:nvSpPr>
              <p:cNvPr id="30" name="Freeform 220"/>
              <p:cNvSpPr>
                <a:spLocks noChangeArrowheads="1"/>
              </p:cNvSpPr>
              <p:nvPr/>
            </p:nvSpPr>
            <p:spPr bwMode="auto">
              <a:xfrm>
                <a:off x="6550342" y="10834540"/>
                <a:ext cx="209028" cy="401438"/>
              </a:xfrm>
              <a:custGeom>
                <a:avLst/>
                <a:gdLst>
                  <a:gd name="T0" fmla="*/ 218 w 219"/>
                  <a:gd name="T1" fmla="*/ 136 h 423"/>
                  <a:gd name="T2" fmla="*/ 218 w 219"/>
                  <a:gd name="T3" fmla="*/ 136 h 423"/>
                  <a:gd name="T4" fmla="*/ 54 w 219"/>
                  <a:gd name="T5" fmla="*/ 0 h 423"/>
                  <a:gd name="T6" fmla="*/ 0 w 219"/>
                  <a:gd name="T7" fmla="*/ 0 h 423"/>
                  <a:gd name="T8" fmla="*/ 0 w 219"/>
                  <a:gd name="T9" fmla="*/ 422 h 423"/>
                  <a:gd name="T10" fmla="*/ 41 w 219"/>
                  <a:gd name="T11" fmla="*/ 381 h 423"/>
                  <a:gd name="T12" fmla="*/ 54 w 219"/>
                  <a:gd name="T13" fmla="*/ 381 h 423"/>
                  <a:gd name="T14" fmla="*/ 218 w 219"/>
                  <a:gd name="T15" fmla="*/ 163 h 423"/>
                  <a:gd name="T16" fmla="*/ 218 w 219"/>
                  <a:gd name="T17" fmla="*/ 136 h 4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19" h="423">
                    <a:moveTo>
                      <a:pt x="218" y="136"/>
                    </a:moveTo>
                    <a:lnTo>
                      <a:pt x="218" y="136"/>
                    </a:lnTo>
                    <a:cubicBezTo>
                      <a:pt x="54" y="0"/>
                      <a:pt x="54" y="0"/>
                      <a:pt x="54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422"/>
                      <a:pt x="0" y="422"/>
                      <a:pt x="0" y="422"/>
                    </a:cubicBezTo>
                    <a:cubicBezTo>
                      <a:pt x="41" y="381"/>
                      <a:pt x="41" y="381"/>
                      <a:pt x="41" y="381"/>
                    </a:cubicBezTo>
                    <a:cubicBezTo>
                      <a:pt x="41" y="381"/>
                      <a:pt x="41" y="381"/>
                      <a:pt x="54" y="381"/>
                    </a:cubicBezTo>
                    <a:cubicBezTo>
                      <a:pt x="218" y="163"/>
                      <a:pt x="218" y="163"/>
                      <a:pt x="218" y="163"/>
                    </a:cubicBezTo>
                    <a:lnTo>
                      <a:pt x="218" y="136"/>
                    </a:ln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31" name="Freeform 221"/>
              <p:cNvSpPr>
                <a:spLocks noChangeArrowheads="1"/>
              </p:cNvSpPr>
              <p:nvPr/>
            </p:nvSpPr>
            <p:spPr bwMode="auto">
              <a:xfrm>
                <a:off x="6654855" y="11311249"/>
                <a:ext cx="50167" cy="37636"/>
              </a:xfrm>
              <a:custGeom>
                <a:avLst/>
                <a:gdLst>
                  <a:gd name="T0" fmla="*/ 26 w 55"/>
                  <a:gd name="T1" fmla="*/ 0 h 41"/>
                  <a:gd name="T2" fmla="*/ 26 w 55"/>
                  <a:gd name="T3" fmla="*/ 0 h 41"/>
                  <a:gd name="T4" fmla="*/ 12 w 55"/>
                  <a:gd name="T5" fmla="*/ 0 h 41"/>
                  <a:gd name="T6" fmla="*/ 12 w 55"/>
                  <a:gd name="T7" fmla="*/ 27 h 41"/>
                  <a:gd name="T8" fmla="*/ 40 w 55"/>
                  <a:gd name="T9" fmla="*/ 27 h 41"/>
                  <a:gd name="T10" fmla="*/ 40 w 55"/>
                  <a:gd name="T11" fmla="*/ 0 h 41"/>
                  <a:gd name="T12" fmla="*/ 26 w 55"/>
                  <a:gd name="T13" fmla="*/ 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5" h="41">
                    <a:moveTo>
                      <a:pt x="26" y="0"/>
                    </a:moveTo>
                    <a:lnTo>
                      <a:pt x="26" y="0"/>
                    </a:lnTo>
                    <a:lnTo>
                      <a:pt x="12" y="0"/>
                    </a:lnTo>
                    <a:cubicBezTo>
                      <a:pt x="0" y="12"/>
                      <a:pt x="12" y="27"/>
                      <a:pt x="12" y="27"/>
                    </a:cubicBezTo>
                    <a:cubicBezTo>
                      <a:pt x="26" y="40"/>
                      <a:pt x="40" y="40"/>
                      <a:pt x="40" y="27"/>
                    </a:cubicBezTo>
                    <a:cubicBezTo>
                      <a:pt x="54" y="12"/>
                      <a:pt x="54" y="0"/>
                      <a:pt x="40" y="0"/>
                    </a:cubicBezTo>
                    <a:cubicBezTo>
                      <a:pt x="40" y="0"/>
                      <a:pt x="40" y="0"/>
                      <a:pt x="26" y="0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32" name="Freeform 222"/>
              <p:cNvSpPr>
                <a:spLocks noChangeArrowheads="1"/>
              </p:cNvSpPr>
              <p:nvPr/>
            </p:nvSpPr>
            <p:spPr bwMode="auto">
              <a:xfrm>
                <a:off x="6604690" y="11261068"/>
                <a:ext cx="54346" cy="54363"/>
              </a:xfrm>
              <a:custGeom>
                <a:avLst/>
                <a:gdLst>
                  <a:gd name="T0" fmla="*/ 28 w 57"/>
                  <a:gd name="T1" fmla="*/ 0 h 56"/>
                  <a:gd name="T2" fmla="*/ 28 w 57"/>
                  <a:gd name="T3" fmla="*/ 0 h 56"/>
                  <a:gd name="T4" fmla="*/ 14 w 57"/>
                  <a:gd name="T5" fmla="*/ 13 h 56"/>
                  <a:gd name="T6" fmla="*/ 14 w 57"/>
                  <a:gd name="T7" fmla="*/ 41 h 56"/>
                  <a:gd name="T8" fmla="*/ 42 w 57"/>
                  <a:gd name="T9" fmla="*/ 41 h 56"/>
                  <a:gd name="T10" fmla="*/ 42 w 57"/>
                  <a:gd name="T11" fmla="*/ 13 h 56"/>
                  <a:gd name="T12" fmla="*/ 28 w 57"/>
                  <a:gd name="T13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7" h="56">
                    <a:moveTo>
                      <a:pt x="28" y="0"/>
                    </a:moveTo>
                    <a:lnTo>
                      <a:pt x="28" y="0"/>
                    </a:lnTo>
                    <a:lnTo>
                      <a:pt x="14" y="13"/>
                    </a:lnTo>
                    <a:cubicBezTo>
                      <a:pt x="0" y="27"/>
                      <a:pt x="14" y="41"/>
                      <a:pt x="14" y="41"/>
                    </a:cubicBezTo>
                    <a:cubicBezTo>
                      <a:pt x="28" y="55"/>
                      <a:pt x="42" y="55"/>
                      <a:pt x="42" y="41"/>
                    </a:cubicBezTo>
                    <a:cubicBezTo>
                      <a:pt x="56" y="27"/>
                      <a:pt x="56" y="13"/>
                      <a:pt x="42" y="13"/>
                    </a:cubicBezTo>
                    <a:cubicBezTo>
                      <a:pt x="42" y="0"/>
                      <a:pt x="42" y="0"/>
                      <a:pt x="28" y="0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33" name="Freeform 223"/>
              <p:cNvSpPr>
                <a:spLocks noChangeArrowheads="1"/>
              </p:cNvSpPr>
              <p:nvPr/>
            </p:nvSpPr>
            <p:spPr bwMode="auto">
              <a:xfrm>
                <a:off x="6964218" y="10834538"/>
                <a:ext cx="179762" cy="334532"/>
              </a:xfrm>
              <a:custGeom>
                <a:avLst/>
                <a:gdLst>
                  <a:gd name="T0" fmla="*/ 108 w 191"/>
                  <a:gd name="T1" fmla="*/ 0 h 354"/>
                  <a:gd name="T2" fmla="*/ 0 w 191"/>
                  <a:gd name="T3" fmla="*/ 122 h 354"/>
                  <a:gd name="T4" fmla="*/ 190 w 191"/>
                  <a:gd name="T5" fmla="*/ 353 h 354"/>
                  <a:gd name="T6" fmla="*/ 190 w 191"/>
                  <a:gd name="T7" fmla="*/ 0 h 354"/>
                  <a:gd name="T8" fmla="*/ 108 w 191"/>
                  <a:gd name="T9" fmla="*/ 0 h 3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1" h="354">
                    <a:moveTo>
                      <a:pt x="108" y="0"/>
                    </a:moveTo>
                    <a:lnTo>
                      <a:pt x="0" y="122"/>
                    </a:lnTo>
                    <a:lnTo>
                      <a:pt x="190" y="353"/>
                    </a:lnTo>
                    <a:lnTo>
                      <a:pt x="190" y="0"/>
                    </a:lnTo>
                    <a:lnTo>
                      <a:pt x="108" y="0"/>
                    </a:ln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34" name="Freeform 224"/>
              <p:cNvSpPr>
                <a:spLocks noChangeArrowheads="1"/>
              </p:cNvSpPr>
              <p:nvPr/>
            </p:nvSpPr>
            <p:spPr bwMode="auto">
              <a:xfrm>
                <a:off x="6705022" y="11348885"/>
                <a:ext cx="50167" cy="41816"/>
              </a:xfrm>
              <a:custGeom>
                <a:avLst/>
                <a:gdLst>
                  <a:gd name="T0" fmla="*/ 26 w 55"/>
                  <a:gd name="T1" fmla="*/ 0 h 42"/>
                  <a:gd name="T2" fmla="*/ 26 w 55"/>
                  <a:gd name="T3" fmla="*/ 0 h 42"/>
                  <a:gd name="T4" fmla="*/ 14 w 55"/>
                  <a:gd name="T5" fmla="*/ 0 h 42"/>
                  <a:gd name="T6" fmla="*/ 14 w 55"/>
                  <a:gd name="T7" fmla="*/ 41 h 42"/>
                  <a:gd name="T8" fmla="*/ 40 w 55"/>
                  <a:gd name="T9" fmla="*/ 28 h 42"/>
                  <a:gd name="T10" fmla="*/ 40 w 55"/>
                  <a:gd name="T11" fmla="*/ 0 h 42"/>
                  <a:gd name="T12" fmla="*/ 26 w 55"/>
                  <a:gd name="T13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5" h="42">
                    <a:moveTo>
                      <a:pt x="26" y="0"/>
                    </a:moveTo>
                    <a:lnTo>
                      <a:pt x="26" y="0"/>
                    </a:lnTo>
                    <a:lnTo>
                      <a:pt x="14" y="0"/>
                    </a:lnTo>
                    <a:cubicBezTo>
                      <a:pt x="0" y="14"/>
                      <a:pt x="14" y="28"/>
                      <a:pt x="14" y="41"/>
                    </a:cubicBezTo>
                    <a:cubicBezTo>
                      <a:pt x="26" y="41"/>
                      <a:pt x="40" y="41"/>
                      <a:pt x="40" y="28"/>
                    </a:cubicBezTo>
                    <a:cubicBezTo>
                      <a:pt x="54" y="28"/>
                      <a:pt x="54" y="14"/>
                      <a:pt x="40" y="0"/>
                    </a:cubicBezTo>
                    <a:cubicBezTo>
                      <a:pt x="40" y="0"/>
                      <a:pt x="40" y="0"/>
                      <a:pt x="26" y="0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35" name="Freeform 225"/>
              <p:cNvSpPr>
                <a:spLocks noChangeArrowheads="1"/>
              </p:cNvSpPr>
              <p:nvPr/>
            </p:nvSpPr>
            <p:spPr bwMode="auto">
              <a:xfrm>
                <a:off x="6759368" y="10976718"/>
                <a:ext cx="351166" cy="246719"/>
              </a:xfrm>
              <a:custGeom>
                <a:avLst/>
                <a:gdLst>
                  <a:gd name="T0" fmla="*/ 14 w 369"/>
                  <a:gd name="T1" fmla="*/ 135 h 259"/>
                  <a:gd name="T2" fmla="*/ 14 w 369"/>
                  <a:gd name="T3" fmla="*/ 135 h 259"/>
                  <a:gd name="T4" fmla="*/ 0 w 369"/>
                  <a:gd name="T5" fmla="*/ 177 h 259"/>
                  <a:gd name="T6" fmla="*/ 41 w 369"/>
                  <a:gd name="T7" fmla="*/ 177 h 259"/>
                  <a:gd name="T8" fmla="*/ 123 w 369"/>
                  <a:gd name="T9" fmla="*/ 109 h 259"/>
                  <a:gd name="T10" fmla="*/ 123 w 369"/>
                  <a:gd name="T11" fmla="*/ 109 h 259"/>
                  <a:gd name="T12" fmla="*/ 135 w 369"/>
                  <a:gd name="T13" fmla="*/ 109 h 259"/>
                  <a:gd name="T14" fmla="*/ 135 w 369"/>
                  <a:gd name="T15" fmla="*/ 109 h 259"/>
                  <a:gd name="T16" fmla="*/ 135 w 369"/>
                  <a:gd name="T17" fmla="*/ 109 h 259"/>
                  <a:gd name="T18" fmla="*/ 135 w 369"/>
                  <a:gd name="T19" fmla="*/ 109 h 259"/>
                  <a:gd name="T20" fmla="*/ 135 w 369"/>
                  <a:gd name="T21" fmla="*/ 109 h 259"/>
                  <a:gd name="T22" fmla="*/ 231 w 369"/>
                  <a:gd name="T23" fmla="*/ 191 h 259"/>
                  <a:gd name="T24" fmla="*/ 231 w 369"/>
                  <a:gd name="T25" fmla="*/ 191 h 259"/>
                  <a:gd name="T26" fmla="*/ 300 w 369"/>
                  <a:gd name="T27" fmla="*/ 258 h 259"/>
                  <a:gd name="T28" fmla="*/ 368 w 369"/>
                  <a:gd name="T29" fmla="*/ 203 h 259"/>
                  <a:gd name="T30" fmla="*/ 204 w 369"/>
                  <a:gd name="T31" fmla="*/ 0 h 259"/>
                  <a:gd name="T32" fmla="*/ 14 w 369"/>
                  <a:gd name="T33" fmla="*/ 135 h 2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69" h="259">
                    <a:moveTo>
                      <a:pt x="14" y="135"/>
                    </a:moveTo>
                    <a:lnTo>
                      <a:pt x="14" y="135"/>
                    </a:lnTo>
                    <a:cubicBezTo>
                      <a:pt x="0" y="135"/>
                      <a:pt x="0" y="163"/>
                      <a:pt x="0" y="177"/>
                    </a:cubicBezTo>
                    <a:cubicBezTo>
                      <a:pt x="14" y="177"/>
                      <a:pt x="41" y="177"/>
                      <a:pt x="41" y="177"/>
                    </a:cubicBezTo>
                    <a:cubicBezTo>
                      <a:pt x="55" y="163"/>
                      <a:pt x="109" y="109"/>
                      <a:pt x="123" y="109"/>
                    </a:cubicBezTo>
                    <a:lnTo>
                      <a:pt x="123" y="109"/>
                    </a:lnTo>
                    <a:cubicBezTo>
                      <a:pt x="123" y="109"/>
                      <a:pt x="123" y="109"/>
                      <a:pt x="135" y="109"/>
                    </a:cubicBezTo>
                    <a:lnTo>
                      <a:pt x="135" y="109"/>
                    </a:lnTo>
                    <a:lnTo>
                      <a:pt x="135" y="109"/>
                    </a:lnTo>
                    <a:lnTo>
                      <a:pt x="135" y="109"/>
                    </a:lnTo>
                    <a:lnTo>
                      <a:pt x="135" y="109"/>
                    </a:lnTo>
                    <a:cubicBezTo>
                      <a:pt x="231" y="191"/>
                      <a:pt x="231" y="191"/>
                      <a:pt x="231" y="191"/>
                    </a:cubicBezTo>
                    <a:lnTo>
                      <a:pt x="231" y="191"/>
                    </a:lnTo>
                    <a:cubicBezTo>
                      <a:pt x="300" y="258"/>
                      <a:pt x="300" y="258"/>
                      <a:pt x="300" y="258"/>
                    </a:cubicBezTo>
                    <a:cubicBezTo>
                      <a:pt x="368" y="203"/>
                      <a:pt x="368" y="203"/>
                      <a:pt x="368" y="203"/>
                    </a:cubicBezTo>
                    <a:cubicBezTo>
                      <a:pt x="204" y="0"/>
                      <a:pt x="204" y="0"/>
                      <a:pt x="204" y="0"/>
                    </a:cubicBezTo>
                    <a:cubicBezTo>
                      <a:pt x="177" y="13"/>
                      <a:pt x="55" y="67"/>
                      <a:pt x="14" y="135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36" name="Freeform 226"/>
              <p:cNvSpPr>
                <a:spLocks noChangeArrowheads="1"/>
              </p:cNvSpPr>
              <p:nvPr/>
            </p:nvSpPr>
            <p:spPr bwMode="auto">
              <a:xfrm>
                <a:off x="6629773" y="11001807"/>
                <a:ext cx="438957" cy="426529"/>
              </a:xfrm>
              <a:custGeom>
                <a:avLst/>
                <a:gdLst>
                  <a:gd name="T0" fmla="*/ 259 w 463"/>
                  <a:gd name="T1" fmla="*/ 108 h 450"/>
                  <a:gd name="T2" fmla="*/ 259 w 463"/>
                  <a:gd name="T3" fmla="*/ 108 h 450"/>
                  <a:gd name="T4" fmla="*/ 204 w 463"/>
                  <a:gd name="T5" fmla="*/ 164 h 450"/>
                  <a:gd name="T6" fmla="*/ 122 w 463"/>
                  <a:gd name="T7" fmla="*/ 164 h 450"/>
                  <a:gd name="T8" fmla="*/ 122 w 463"/>
                  <a:gd name="T9" fmla="*/ 94 h 450"/>
                  <a:gd name="T10" fmla="*/ 217 w 463"/>
                  <a:gd name="T11" fmla="*/ 0 h 450"/>
                  <a:gd name="T12" fmla="*/ 150 w 463"/>
                  <a:gd name="T13" fmla="*/ 13 h 450"/>
                  <a:gd name="T14" fmla="*/ 0 w 463"/>
                  <a:gd name="T15" fmla="*/ 218 h 450"/>
                  <a:gd name="T16" fmla="*/ 271 w 463"/>
                  <a:gd name="T17" fmla="*/ 449 h 450"/>
                  <a:gd name="T18" fmla="*/ 286 w 463"/>
                  <a:gd name="T19" fmla="*/ 449 h 450"/>
                  <a:gd name="T20" fmla="*/ 286 w 463"/>
                  <a:gd name="T21" fmla="*/ 449 h 450"/>
                  <a:gd name="T22" fmla="*/ 299 w 463"/>
                  <a:gd name="T23" fmla="*/ 449 h 450"/>
                  <a:gd name="T24" fmla="*/ 313 w 463"/>
                  <a:gd name="T25" fmla="*/ 435 h 450"/>
                  <a:gd name="T26" fmla="*/ 299 w 463"/>
                  <a:gd name="T27" fmla="*/ 422 h 450"/>
                  <a:gd name="T28" fmla="*/ 204 w 463"/>
                  <a:gd name="T29" fmla="*/ 339 h 450"/>
                  <a:gd name="T30" fmla="*/ 204 w 463"/>
                  <a:gd name="T31" fmla="*/ 313 h 450"/>
                  <a:gd name="T32" fmla="*/ 231 w 463"/>
                  <a:gd name="T33" fmla="*/ 313 h 450"/>
                  <a:gd name="T34" fmla="*/ 245 w 463"/>
                  <a:gd name="T35" fmla="*/ 327 h 450"/>
                  <a:gd name="T36" fmla="*/ 245 w 463"/>
                  <a:gd name="T37" fmla="*/ 327 h 450"/>
                  <a:gd name="T38" fmla="*/ 327 w 463"/>
                  <a:gd name="T39" fmla="*/ 395 h 450"/>
                  <a:gd name="T40" fmla="*/ 327 w 463"/>
                  <a:gd name="T41" fmla="*/ 395 h 450"/>
                  <a:gd name="T42" fmla="*/ 340 w 463"/>
                  <a:gd name="T43" fmla="*/ 408 h 450"/>
                  <a:gd name="T44" fmla="*/ 354 w 463"/>
                  <a:gd name="T45" fmla="*/ 408 h 450"/>
                  <a:gd name="T46" fmla="*/ 367 w 463"/>
                  <a:gd name="T47" fmla="*/ 408 h 450"/>
                  <a:gd name="T48" fmla="*/ 367 w 463"/>
                  <a:gd name="T49" fmla="*/ 381 h 450"/>
                  <a:gd name="T50" fmla="*/ 271 w 463"/>
                  <a:gd name="T51" fmla="*/ 299 h 450"/>
                  <a:gd name="T52" fmla="*/ 271 w 463"/>
                  <a:gd name="T53" fmla="*/ 272 h 450"/>
                  <a:gd name="T54" fmla="*/ 286 w 463"/>
                  <a:gd name="T55" fmla="*/ 272 h 450"/>
                  <a:gd name="T56" fmla="*/ 299 w 463"/>
                  <a:gd name="T57" fmla="*/ 285 h 450"/>
                  <a:gd name="T58" fmla="*/ 381 w 463"/>
                  <a:gd name="T59" fmla="*/ 354 h 450"/>
                  <a:gd name="T60" fmla="*/ 381 w 463"/>
                  <a:gd name="T61" fmla="*/ 367 h 450"/>
                  <a:gd name="T62" fmla="*/ 394 w 463"/>
                  <a:gd name="T63" fmla="*/ 367 h 450"/>
                  <a:gd name="T64" fmla="*/ 394 w 463"/>
                  <a:gd name="T65" fmla="*/ 367 h 450"/>
                  <a:gd name="T66" fmla="*/ 394 w 463"/>
                  <a:gd name="T67" fmla="*/ 367 h 450"/>
                  <a:gd name="T68" fmla="*/ 394 w 463"/>
                  <a:gd name="T69" fmla="*/ 367 h 450"/>
                  <a:gd name="T70" fmla="*/ 394 w 463"/>
                  <a:gd name="T71" fmla="*/ 367 h 450"/>
                  <a:gd name="T72" fmla="*/ 408 w 463"/>
                  <a:gd name="T73" fmla="*/ 354 h 450"/>
                  <a:gd name="T74" fmla="*/ 408 w 463"/>
                  <a:gd name="T75" fmla="*/ 327 h 450"/>
                  <a:gd name="T76" fmla="*/ 313 w 463"/>
                  <a:gd name="T77" fmla="*/ 245 h 450"/>
                  <a:gd name="T78" fmla="*/ 313 w 463"/>
                  <a:gd name="T79" fmla="*/ 245 h 450"/>
                  <a:gd name="T80" fmla="*/ 313 w 463"/>
                  <a:gd name="T81" fmla="*/ 245 h 450"/>
                  <a:gd name="T82" fmla="*/ 313 w 463"/>
                  <a:gd name="T83" fmla="*/ 218 h 450"/>
                  <a:gd name="T84" fmla="*/ 327 w 463"/>
                  <a:gd name="T85" fmla="*/ 218 h 450"/>
                  <a:gd name="T86" fmla="*/ 422 w 463"/>
                  <a:gd name="T87" fmla="*/ 299 h 450"/>
                  <a:gd name="T88" fmla="*/ 422 w 463"/>
                  <a:gd name="T89" fmla="*/ 299 h 450"/>
                  <a:gd name="T90" fmla="*/ 436 w 463"/>
                  <a:gd name="T91" fmla="*/ 299 h 450"/>
                  <a:gd name="T92" fmla="*/ 436 w 463"/>
                  <a:gd name="T93" fmla="*/ 299 h 450"/>
                  <a:gd name="T94" fmla="*/ 450 w 463"/>
                  <a:gd name="T95" fmla="*/ 299 h 450"/>
                  <a:gd name="T96" fmla="*/ 450 w 463"/>
                  <a:gd name="T97" fmla="*/ 272 h 450"/>
                  <a:gd name="T98" fmla="*/ 259 w 463"/>
                  <a:gd name="T99" fmla="*/ 108 h 4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463" h="450">
                    <a:moveTo>
                      <a:pt x="259" y="108"/>
                    </a:moveTo>
                    <a:lnTo>
                      <a:pt x="259" y="108"/>
                    </a:lnTo>
                    <a:cubicBezTo>
                      <a:pt x="245" y="122"/>
                      <a:pt x="217" y="136"/>
                      <a:pt x="204" y="164"/>
                    </a:cubicBezTo>
                    <a:cubicBezTo>
                      <a:pt x="177" y="190"/>
                      <a:pt x="150" y="190"/>
                      <a:pt x="122" y="164"/>
                    </a:cubicBezTo>
                    <a:cubicBezTo>
                      <a:pt x="96" y="150"/>
                      <a:pt x="108" y="108"/>
                      <a:pt x="122" y="94"/>
                    </a:cubicBezTo>
                    <a:cubicBezTo>
                      <a:pt x="136" y="54"/>
                      <a:pt x="177" y="27"/>
                      <a:pt x="217" y="0"/>
                    </a:cubicBezTo>
                    <a:cubicBezTo>
                      <a:pt x="150" y="13"/>
                      <a:pt x="150" y="13"/>
                      <a:pt x="150" y="13"/>
                    </a:cubicBezTo>
                    <a:cubicBezTo>
                      <a:pt x="0" y="218"/>
                      <a:pt x="0" y="218"/>
                      <a:pt x="0" y="218"/>
                    </a:cubicBezTo>
                    <a:cubicBezTo>
                      <a:pt x="271" y="449"/>
                      <a:pt x="271" y="449"/>
                      <a:pt x="271" y="449"/>
                    </a:cubicBezTo>
                    <a:cubicBezTo>
                      <a:pt x="286" y="449"/>
                      <a:pt x="286" y="449"/>
                      <a:pt x="286" y="449"/>
                    </a:cubicBezTo>
                    <a:lnTo>
                      <a:pt x="286" y="449"/>
                    </a:lnTo>
                    <a:cubicBezTo>
                      <a:pt x="299" y="449"/>
                      <a:pt x="299" y="449"/>
                      <a:pt x="299" y="449"/>
                    </a:cubicBezTo>
                    <a:cubicBezTo>
                      <a:pt x="313" y="435"/>
                      <a:pt x="313" y="435"/>
                      <a:pt x="313" y="435"/>
                    </a:cubicBezTo>
                    <a:cubicBezTo>
                      <a:pt x="313" y="422"/>
                      <a:pt x="313" y="422"/>
                      <a:pt x="299" y="422"/>
                    </a:cubicBezTo>
                    <a:cubicBezTo>
                      <a:pt x="204" y="339"/>
                      <a:pt x="204" y="339"/>
                      <a:pt x="204" y="339"/>
                    </a:cubicBezTo>
                    <a:cubicBezTo>
                      <a:pt x="204" y="339"/>
                      <a:pt x="204" y="327"/>
                      <a:pt x="204" y="313"/>
                    </a:cubicBezTo>
                    <a:cubicBezTo>
                      <a:pt x="217" y="313"/>
                      <a:pt x="217" y="313"/>
                      <a:pt x="231" y="313"/>
                    </a:cubicBezTo>
                    <a:cubicBezTo>
                      <a:pt x="245" y="327"/>
                      <a:pt x="245" y="327"/>
                      <a:pt x="245" y="327"/>
                    </a:cubicBezTo>
                    <a:lnTo>
                      <a:pt x="245" y="327"/>
                    </a:lnTo>
                    <a:cubicBezTo>
                      <a:pt x="327" y="395"/>
                      <a:pt x="327" y="395"/>
                      <a:pt x="327" y="395"/>
                    </a:cubicBezTo>
                    <a:lnTo>
                      <a:pt x="327" y="395"/>
                    </a:lnTo>
                    <a:cubicBezTo>
                      <a:pt x="340" y="408"/>
                      <a:pt x="340" y="408"/>
                      <a:pt x="340" y="408"/>
                    </a:cubicBezTo>
                    <a:cubicBezTo>
                      <a:pt x="340" y="408"/>
                      <a:pt x="340" y="408"/>
                      <a:pt x="354" y="408"/>
                    </a:cubicBezTo>
                    <a:cubicBezTo>
                      <a:pt x="354" y="408"/>
                      <a:pt x="354" y="408"/>
                      <a:pt x="367" y="408"/>
                    </a:cubicBezTo>
                    <a:cubicBezTo>
                      <a:pt x="367" y="395"/>
                      <a:pt x="367" y="381"/>
                      <a:pt x="367" y="381"/>
                    </a:cubicBezTo>
                    <a:cubicBezTo>
                      <a:pt x="271" y="299"/>
                      <a:pt x="271" y="299"/>
                      <a:pt x="271" y="299"/>
                    </a:cubicBezTo>
                    <a:cubicBezTo>
                      <a:pt x="259" y="285"/>
                      <a:pt x="259" y="285"/>
                      <a:pt x="271" y="272"/>
                    </a:cubicBezTo>
                    <a:lnTo>
                      <a:pt x="286" y="272"/>
                    </a:lnTo>
                    <a:cubicBezTo>
                      <a:pt x="299" y="285"/>
                      <a:pt x="299" y="285"/>
                      <a:pt x="299" y="285"/>
                    </a:cubicBezTo>
                    <a:cubicBezTo>
                      <a:pt x="381" y="354"/>
                      <a:pt x="381" y="354"/>
                      <a:pt x="381" y="354"/>
                    </a:cubicBezTo>
                    <a:cubicBezTo>
                      <a:pt x="381" y="367"/>
                      <a:pt x="381" y="367"/>
                      <a:pt x="381" y="367"/>
                    </a:cubicBezTo>
                    <a:cubicBezTo>
                      <a:pt x="394" y="367"/>
                      <a:pt x="394" y="367"/>
                      <a:pt x="394" y="367"/>
                    </a:cubicBezTo>
                    <a:lnTo>
                      <a:pt x="394" y="367"/>
                    </a:lnTo>
                    <a:lnTo>
                      <a:pt x="394" y="367"/>
                    </a:lnTo>
                    <a:lnTo>
                      <a:pt x="394" y="367"/>
                    </a:lnTo>
                    <a:lnTo>
                      <a:pt x="394" y="367"/>
                    </a:lnTo>
                    <a:cubicBezTo>
                      <a:pt x="408" y="367"/>
                      <a:pt x="408" y="354"/>
                      <a:pt x="408" y="354"/>
                    </a:cubicBezTo>
                    <a:cubicBezTo>
                      <a:pt x="422" y="339"/>
                      <a:pt x="422" y="339"/>
                      <a:pt x="408" y="327"/>
                    </a:cubicBezTo>
                    <a:cubicBezTo>
                      <a:pt x="313" y="245"/>
                      <a:pt x="313" y="245"/>
                      <a:pt x="313" y="245"/>
                    </a:cubicBezTo>
                    <a:lnTo>
                      <a:pt x="313" y="245"/>
                    </a:lnTo>
                    <a:lnTo>
                      <a:pt x="313" y="245"/>
                    </a:lnTo>
                    <a:cubicBezTo>
                      <a:pt x="299" y="231"/>
                      <a:pt x="299" y="231"/>
                      <a:pt x="313" y="218"/>
                    </a:cubicBezTo>
                    <a:lnTo>
                      <a:pt x="327" y="218"/>
                    </a:lnTo>
                    <a:cubicBezTo>
                      <a:pt x="422" y="299"/>
                      <a:pt x="422" y="299"/>
                      <a:pt x="422" y="299"/>
                    </a:cubicBezTo>
                    <a:lnTo>
                      <a:pt x="422" y="299"/>
                    </a:lnTo>
                    <a:lnTo>
                      <a:pt x="436" y="299"/>
                    </a:lnTo>
                    <a:lnTo>
                      <a:pt x="436" y="299"/>
                    </a:lnTo>
                    <a:lnTo>
                      <a:pt x="450" y="299"/>
                    </a:lnTo>
                    <a:cubicBezTo>
                      <a:pt x="462" y="285"/>
                      <a:pt x="450" y="272"/>
                      <a:pt x="450" y="272"/>
                    </a:cubicBezTo>
                    <a:lnTo>
                      <a:pt x="259" y="108"/>
                    </a:ln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37" name="Freeform 227"/>
              <p:cNvSpPr>
                <a:spLocks noChangeArrowheads="1"/>
              </p:cNvSpPr>
              <p:nvPr/>
            </p:nvSpPr>
            <p:spPr bwMode="auto">
              <a:xfrm>
                <a:off x="6759368" y="11390700"/>
                <a:ext cx="54349" cy="50180"/>
              </a:xfrm>
              <a:custGeom>
                <a:avLst/>
                <a:gdLst>
                  <a:gd name="T0" fmla="*/ 27 w 56"/>
                  <a:gd name="T1" fmla="*/ 0 h 55"/>
                  <a:gd name="T2" fmla="*/ 27 w 56"/>
                  <a:gd name="T3" fmla="*/ 0 h 55"/>
                  <a:gd name="T4" fmla="*/ 14 w 56"/>
                  <a:gd name="T5" fmla="*/ 14 h 55"/>
                  <a:gd name="T6" fmla="*/ 14 w 56"/>
                  <a:gd name="T7" fmla="*/ 41 h 55"/>
                  <a:gd name="T8" fmla="*/ 41 w 56"/>
                  <a:gd name="T9" fmla="*/ 41 h 55"/>
                  <a:gd name="T10" fmla="*/ 41 w 56"/>
                  <a:gd name="T11" fmla="*/ 0 h 55"/>
                  <a:gd name="T12" fmla="*/ 27 w 56"/>
                  <a:gd name="T13" fmla="*/ 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6" h="55">
                    <a:moveTo>
                      <a:pt x="27" y="0"/>
                    </a:moveTo>
                    <a:lnTo>
                      <a:pt x="27" y="0"/>
                    </a:lnTo>
                    <a:cubicBezTo>
                      <a:pt x="27" y="0"/>
                      <a:pt x="14" y="0"/>
                      <a:pt x="14" y="14"/>
                    </a:cubicBezTo>
                    <a:cubicBezTo>
                      <a:pt x="0" y="14"/>
                      <a:pt x="14" y="27"/>
                      <a:pt x="14" y="41"/>
                    </a:cubicBezTo>
                    <a:cubicBezTo>
                      <a:pt x="27" y="54"/>
                      <a:pt x="41" y="41"/>
                      <a:pt x="41" y="41"/>
                    </a:cubicBezTo>
                    <a:cubicBezTo>
                      <a:pt x="55" y="27"/>
                      <a:pt x="55" y="14"/>
                      <a:pt x="41" y="0"/>
                    </a:cubicBezTo>
                    <a:cubicBezTo>
                      <a:pt x="41" y="0"/>
                      <a:pt x="41" y="0"/>
                      <a:pt x="27" y="0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38" name="Freeform 228"/>
              <p:cNvSpPr>
                <a:spLocks noChangeArrowheads="1"/>
              </p:cNvSpPr>
              <p:nvPr/>
            </p:nvSpPr>
            <p:spPr bwMode="auto">
              <a:xfrm>
                <a:off x="6901508" y="11453424"/>
                <a:ext cx="4181" cy="4184"/>
              </a:xfrm>
              <a:custGeom>
                <a:avLst/>
                <a:gdLst>
                  <a:gd name="T0" fmla="*/ 0 w 1"/>
                  <a:gd name="T1" fmla="*/ 0 h 1"/>
                  <a:gd name="T2" fmla="*/ 0 w 1"/>
                  <a:gd name="T3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lnTo>
                      <a:pt x="0" y="0"/>
                    </a:lnTo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bevel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</p:grpSp>
        <p:grpSp>
          <p:nvGrpSpPr>
            <p:cNvPr id="23" name="Group 77"/>
            <p:cNvGrpSpPr/>
            <p:nvPr/>
          </p:nvGrpSpPr>
          <p:grpSpPr>
            <a:xfrm>
              <a:off x="17960356" y="9740260"/>
              <a:ext cx="845450" cy="756950"/>
              <a:chOff x="13222514" y="10847085"/>
              <a:chExt cx="635447" cy="568706"/>
            </a:xfrm>
            <a:solidFill>
              <a:srgbClr val="FFFFFF"/>
            </a:solidFill>
          </p:grpSpPr>
          <p:sp>
            <p:nvSpPr>
              <p:cNvPr id="27" name="Freeform 245"/>
              <p:cNvSpPr>
                <a:spLocks noChangeArrowheads="1"/>
              </p:cNvSpPr>
              <p:nvPr/>
            </p:nvSpPr>
            <p:spPr bwMode="auto">
              <a:xfrm>
                <a:off x="13276865" y="11323795"/>
                <a:ext cx="41805" cy="41816"/>
              </a:xfrm>
              <a:custGeom>
                <a:avLst/>
                <a:gdLst>
                  <a:gd name="T0" fmla="*/ 14 w 42"/>
                  <a:gd name="T1" fmla="*/ 42 h 43"/>
                  <a:gd name="T2" fmla="*/ 14 w 42"/>
                  <a:gd name="T3" fmla="*/ 42 h 43"/>
                  <a:gd name="T4" fmla="*/ 41 w 42"/>
                  <a:gd name="T5" fmla="*/ 28 h 43"/>
                  <a:gd name="T6" fmla="*/ 14 w 42"/>
                  <a:gd name="T7" fmla="*/ 0 h 43"/>
                  <a:gd name="T8" fmla="*/ 0 w 42"/>
                  <a:gd name="T9" fmla="*/ 28 h 43"/>
                  <a:gd name="T10" fmla="*/ 14 w 42"/>
                  <a:gd name="T11" fmla="*/ 4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2" h="43">
                    <a:moveTo>
                      <a:pt x="14" y="42"/>
                    </a:moveTo>
                    <a:lnTo>
                      <a:pt x="14" y="42"/>
                    </a:lnTo>
                    <a:cubicBezTo>
                      <a:pt x="28" y="42"/>
                      <a:pt x="41" y="42"/>
                      <a:pt x="41" y="28"/>
                    </a:cubicBezTo>
                    <a:cubicBezTo>
                      <a:pt x="41" y="15"/>
                      <a:pt x="28" y="0"/>
                      <a:pt x="14" y="0"/>
                    </a:cubicBezTo>
                    <a:cubicBezTo>
                      <a:pt x="14" y="0"/>
                      <a:pt x="0" y="15"/>
                      <a:pt x="0" y="28"/>
                    </a:cubicBezTo>
                    <a:cubicBezTo>
                      <a:pt x="0" y="42"/>
                      <a:pt x="14" y="42"/>
                      <a:pt x="14" y="42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28" name="Freeform 246"/>
              <p:cNvSpPr>
                <a:spLocks noChangeArrowheads="1"/>
              </p:cNvSpPr>
              <p:nvPr/>
            </p:nvSpPr>
            <p:spPr bwMode="auto">
              <a:xfrm>
                <a:off x="13222514" y="11068713"/>
                <a:ext cx="167223" cy="347078"/>
              </a:xfrm>
              <a:custGeom>
                <a:avLst/>
                <a:gdLst>
                  <a:gd name="T0" fmla="*/ 0 w 177"/>
                  <a:gd name="T1" fmla="*/ 367 h 368"/>
                  <a:gd name="T2" fmla="*/ 0 w 177"/>
                  <a:gd name="T3" fmla="*/ 367 h 368"/>
                  <a:gd name="T4" fmla="*/ 176 w 177"/>
                  <a:gd name="T5" fmla="*/ 367 h 368"/>
                  <a:gd name="T6" fmla="*/ 176 w 177"/>
                  <a:gd name="T7" fmla="*/ 0 h 368"/>
                  <a:gd name="T8" fmla="*/ 0 w 177"/>
                  <a:gd name="T9" fmla="*/ 0 h 368"/>
                  <a:gd name="T10" fmla="*/ 0 w 177"/>
                  <a:gd name="T11" fmla="*/ 367 h 368"/>
                  <a:gd name="T12" fmla="*/ 95 w 177"/>
                  <a:gd name="T13" fmla="*/ 26 h 368"/>
                  <a:gd name="T14" fmla="*/ 95 w 177"/>
                  <a:gd name="T15" fmla="*/ 26 h 368"/>
                  <a:gd name="T16" fmla="*/ 122 w 177"/>
                  <a:gd name="T17" fmla="*/ 26 h 368"/>
                  <a:gd name="T18" fmla="*/ 122 w 177"/>
                  <a:gd name="T19" fmla="*/ 231 h 368"/>
                  <a:gd name="T20" fmla="*/ 95 w 177"/>
                  <a:gd name="T21" fmla="*/ 231 h 368"/>
                  <a:gd name="T22" fmla="*/ 95 w 177"/>
                  <a:gd name="T23" fmla="*/ 26 h 368"/>
                  <a:gd name="T24" fmla="*/ 68 w 177"/>
                  <a:gd name="T25" fmla="*/ 245 h 368"/>
                  <a:gd name="T26" fmla="*/ 68 w 177"/>
                  <a:gd name="T27" fmla="*/ 245 h 368"/>
                  <a:gd name="T28" fmla="*/ 122 w 177"/>
                  <a:gd name="T29" fmla="*/ 299 h 368"/>
                  <a:gd name="T30" fmla="*/ 68 w 177"/>
                  <a:gd name="T31" fmla="*/ 340 h 368"/>
                  <a:gd name="T32" fmla="*/ 27 w 177"/>
                  <a:gd name="T33" fmla="*/ 299 h 368"/>
                  <a:gd name="T34" fmla="*/ 68 w 177"/>
                  <a:gd name="T35" fmla="*/ 245 h 3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77" h="368">
                    <a:moveTo>
                      <a:pt x="0" y="367"/>
                    </a:moveTo>
                    <a:lnTo>
                      <a:pt x="0" y="367"/>
                    </a:lnTo>
                    <a:cubicBezTo>
                      <a:pt x="176" y="367"/>
                      <a:pt x="176" y="367"/>
                      <a:pt x="176" y="367"/>
                    </a:cubicBezTo>
                    <a:cubicBezTo>
                      <a:pt x="176" y="0"/>
                      <a:pt x="176" y="0"/>
                      <a:pt x="176" y="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0" y="367"/>
                    </a:lnTo>
                    <a:close/>
                    <a:moveTo>
                      <a:pt x="95" y="26"/>
                    </a:moveTo>
                    <a:lnTo>
                      <a:pt x="95" y="26"/>
                    </a:lnTo>
                    <a:cubicBezTo>
                      <a:pt x="122" y="26"/>
                      <a:pt x="122" y="26"/>
                      <a:pt x="122" y="26"/>
                    </a:cubicBezTo>
                    <a:cubicBezTo>
                      <a:pt x="122" y="231"/>
                      <a:pt x="122" y="231"/>
                      <a:pt x="122" y="231"/>
                    </a:cubicBezTo>
                    <a:cubicBezTo>
                      <a:pt x="95" y="231"/>
                      <a:pt x="95" y="231"/>
                      <a:pt x="95" y="231"/>
                    </a:cubicBezTo>
                    <a:lnTo>
                      <a:pt x="95" y="26"/>
                    </a:lnTo>
                    <a:close/>
                    <a:moveTo>
                      <a:pt x="68" y="245"/>
                    </a:moveTo>
                    <a:lnTo>
                      <a:pt x="68" y="245"/>
                    </a:lnTo>
                    <a:cubicBezTo>
                      <a:pt x="95" y="245"/>
                      <a:pt x="122" y="271"/>
                      <a:pt x="122" y="299"/>
                    </a:cubicBezTo>
                    <a:cubicBezTo>
                      <a:pt x="122" y="327"/>
                      <a:pt x="95" y="340"/>
                      <a:pt x="68" y="340"/>
                    </a:cubicBezTo>
                    <a:cubicBezTo>
                      <a:pt x="41" y="340"/>
                      <a:pt x="27" y="327"/>
                      <a:pt x="27" y="299"/>
                    </a:cubicBezTo>
                    <a:cubicBezTo>
                      <a:pt x="27" y="271"/>
                      <a:pt x="41" y="245"/>
                      <a:pt x="68" y="245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29" name="Freeform 247"/>
              <p:cNvSpPr>
                <a:spLocks noChangeArrowheads="1"/>
              </p:cNvSpPr>
              <p:nvPr/>
            </p:nvSpPr>
            <p:spPr bwMode="auto">
              <a:xfrm>
                <a:off x="13419004" y="10847085"/>
                <a:ext cx="438957" cy="518524"/>
              </a:xfrm>
              <a:custGeom>
                <a:avLst/>
                <a:gdLst>
                  <a:gd name="T0" fmla="*/ 436 w 464"/>
                  <a:gd name="T1" fmla="*/ 300 h 546"/>
                  <a:gd name="T2" fmla="*/ 436 w 464"/>
                  <a:gd name="T3" fmla="*/ 300 h 546"/>
                  <a:gd name="T4" fmla="*/ 463 w 464"/>
                  <a:gd name="T5" fmla="*/ 258 h 546"/>
                  <a:gd name="T6" fmla="*/ 408 w 464"/>
                  <a:gd name="T7" fmla="*/ 218 h 546"/>
                  <a:gd name="T8" fmla="*/ 314 w 464"/>
                  <a:gd name="T9" fmla="*/ 218 h 546"/>
                  <a:gd name="T10" fmla="*/ 394 w 464"/>
                  <a:gd name="T11" fmla="*/ 95 h 546"/>
                  <a:gd name="T12" fmla="*/ 382 w 464"/>
                  <a:gd name="T13" fmla="*/ 27 h 546"/>
                  <a:gd name="T14" fmla="*/ 326 w 464"/>
                  <a:gd name="T15" fmla="*/ 0 h 546"/>
                  <a:gd name="T16" fmla="*/ 326 w 464"/>
                  <a:gd name="T17" fmla="*/ 0 h 546"/>
                  <a:gd name="T18" fmla="*/ 326 w 464"/>
                  <a:gd name="T19" fmla="*/ 0 h 546"/>
                  <a:gd name="T20" fmla="*/ 218 w 464"/>
                  <a:gd name="T21" fmla="*/ 123 h 546"/>
                  <a:gd name="T22" fmla="*/ 41 w 464"/>
                  <a:gd name="T23" fmla="*/ 272 h 546"/>
                  <a:gd name="T24" fmla="*/ 0 w 464"/>
                  <a:gd name="T25" fmla="*/ 272 h 546"/>
                  <a:gd name="T26" fmla="*/ 0 w 464"/>
                  <a:gd name="T27" fmla="*/ 518 h 546"/>
                  <a:gd name="T28" fmla="*/ 0 w 464"/>
                  <a:gd name="T29" fmla="*/ 518 h 546"/>
                  <a:gd name="T30" fmla="*/ 14 w 464"/>
                  <a:gd name="T31" fmla="*/ 518 h 546"/>
                  <a:gd name="T32" fmla="*/ 81 w 464"/>
                  <a:gd name="T33" fmla="*/ 531 h 546"/>
                  <a:gd name="T34" fmla="*/ 135 w 464"/>
                  <a:gd name="T35" fmla="*/ 545 h 546"/>
                  <a:gd name="T36" fmla="*/ 231 w 464"/>
                  <a:gd name="T37" fmla="*/ 531 h 546"/>
                  <a:gd name="T38" fmla="*/ 368 w 464"/>
                  <a:gd name="T39" fmla="*/ 531 h 546"/>
                  <a:gd name="T40" fmla="*/ 408 w 464"/>
                  <a:gd name="T41" fmla="*/ 491 h 546"/>
                  <a:gd name="T42" fmla="*/ 394 w 464"/>
                  <a:gd name="T43" fmla="*/ 449 h 546"/>
                  <a:gd name="T44" fmla="*/ 394 w 464"/>
                  <a:gd name="T45" fmla="*/ 449 h 546"/>
                  <a:gd name="T46" fmla="*/ 449 w 464"/>
                  <a:gd name="T47" fmla="*/ 409 h 546"/>
                  <a:gd name="T48" fmla="*/ 422 w 464"/>
                  <a:gd name="T49" fmla="*/ 382 h 546"/>
                  <a:gd name="T50" fmla="*/ 463 w 464"/>
                  <a:gd name="T51" fmla="*/ 328 h 546"/>
                  <a:gd name="T52" fmla="*/ 436 w 464"/>
                  <a:gd name="T53" fmla="*/ 300 h 546"/>
                  <a:gd name="T54" fmla="*/ 204 w 464"/>
                  <a:gd name="T55" fmla="*/ 204 h 546"/>
                  <a:gd name="T56" fmla="*/ 204 w 464"/>
                  <a:gd name="T57" fmla="*/ 204 h 546"/>
                  <a:gd name="T58" fmla="*/ 123 w 464"/>
                  <a:gd name="T59" fmla="*/ 300 h 546"/>
                  <a:gd name="T60" fmla="*/ 109 w 464"/>
                  <a:gd name="T61" fmla="*/ 314 h 546"/>
                  <a:gd name="T62" fmla="*/ 109 w 464"/>
                  <a:gd name="T63" fmla="*/ 314 h 546"/>
                  <a:gd name="T64" fmla="*/ 95 w 464"/>
                  <a:gd name="T65" fmla="*/ 286 h 546"/>
                  <a:gd name="T66" fmla="*/ 191 w 464"/>
                  <a:gd name="T67" fmla="*/ 191 h 546"/>
                  <a:gd name="T68" fmla="*/ 218 w 464"/>
                  <a:gd name="T69" fmla="*/ 191 h 546"/>
                  <a:gd name="T70" fmla="*/ 204 w 464"/>
                  <a:gd name="T71" fmla="*/ 204 h 5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64" h="546">
                    <a:moveTo>
                      <a:pt x="436" y="300"/>
                    </a:moveTo>
                    <a:lnTo>
                      <a:pt x="436" y="300"/>
                    </a:lnTo>
                    <a:cubicBezTo>
                      <a:pt x="449" y="286"/>
                      <a:pt x="463" y="272"/>
                      <a:pt x="463" y="258"/>
                    </a:cubicBezTo>
                    <a:cubicBezTo>
                      <a:pt x="463" y="232"/>
                      <a:pt x="436" y="218"/>
                      <a:pt x="408" y="218"/>
                    </a:cubicBezTo>
                    <a:cubicBezTo>
                      <a:pt x="314" y="218"/>
                      <a:pt x="314" y="218"/>
                      <a:pt x="314" y="218"/>
                    </a:cubicBezTo>
                    <a:cubicBezTo>
                      <a:pt x="340" y="191"/>
                      <a:pt x="382" y="150"/>
                      <a:pt x="394" y="95"/>
                    </a:cubicBezTo>
                    <a:cubicBezTo>
                      <a:pt x="394" y="69"/>
                      <a:pt x="394" y="41"/>
                      <a:pt x="382" y="27"/>
                    </a:cubicBezTo>
                    <a:cubicBezTo>
                      <a:pt x="368" y="0"/>
                      <a:pt x="326" y="0"/>
                      <a:pt x="326" y="0"/>
                    </a:cubicBezTo>
                    <a:lnTo>
                      <a:pt x="326" y="0"/>
                    </a:lnTo>
                    <a:lnTo>
                      <a:pt x="326" y="0"/>
                    </a:lnTo>
                    <a:cubicBezTo>
                      <a:pt x="326" y="27"/>
                      <a:pt x="314" y="69"/>
                      <a:pt x="218" y="123"/>
                    </a:cubicBezTo>
                    <a:cubicBezTo>
                      <a:pt x="123" y="191"/>
                      <a:pt x="55" y="258"/>
                      <a:pt x="41" y="272"/>
                    </a:cubicBezTo>
                    <a:cubicBezTo>
                      <a:pt x="0" y="272"/>
                      <a:pt x="0" y="272"/>
                      <a:pt x="0" y="272"/>
                    </a:cubicBezTo>
                    <a:cubicBezTo>
                      <a:pt x="0" y="518"/>
                      <a:pt x="0" y="518"/>
                      <a:pt x="0" y="518"/>
                    </a:cubicBezTo>
                    <a:lnTo>
                      <a:pt x="0" y="518"/>
                    </a:lnTo>
                    <a:cubicBezTo>
                      <a:pt x="0" y="518"/>
                      <a:pt x="0" y="518"/>
                      <a:pt x="14" y="518"/>
                    </a:cubicBezTo>
                    <a:cubicBezTo>
                      <a:pt x="27" y="518"/>
                      <a:pt x="55" y="518"/>
                      <a:pt x="81" y="531"/>
                    </a:cubicBezTo>
                    <a:cubicBezTo>
                      <a:pt x="95" y="531"/>
                      <a:pt x="109" y="545"/>
                      <a:pt x="135" y="545"/>
                    </a:cubicBezTo>
                    <a:cubicBezTo>
                      <a:pt x="177" y="545"/>
                      <a:pt x="231" y="531"/>
                      <a:pt x="231" y="531"/>
                    </a:cubicBezTo>
                    <a:cubicBezTo>
                      <a:pt x="368" y="531"/>
                      <a:pt x="368" y="531"/>
                      <a:pt x="368" y="531"/>
                    </a:cubicBezTo>
                    <a:cubicBezTo>
                      <a:pt x="394" y="531"/>
                      <a:pt x="408" y="518"/>
                      <a:pt x="408" y="491"/>
                    </a:cubicBezTo>
                    <a:cubicBezTo>
                      <a:pt x="408" y="477"/>
                      <a:pt x="408" y="463"/>
                      <a:pt x="394" y="449"/>
                    </a:cubicBezTo>
                    <a:lnTo>
                      <a:pt x="394" y="449"/>
                    </a:lnTo>
                    <a:cubicBezTo>
                      <a:pt x="422" y="449"/>
                      <a:pt x="449" y="436"/>
                      <a:pt x="449" y="409"/>
                    </a:cubicBezTo>
                    <a:cubicBezTo>
                      <a:pt x="449" y="395"/>
                      <a:pt x="436" y="382"/>
                      <a:pt x="422" y="382"/>
                    </a:cubicBezTo>
                    <a:cubicBezTo>
                      <a:pt x="449" y="368"/>
                      <a:pt x="463" y="354"/>
                      <a:pt x="463" y="328"/>
                    </a:cubicBezTo>
                    <a:cubicBezTo>
                      <a:pt x="463" y="314"/>
                      <a:pt x="449" y="300"/>
                      <a:pt x="436" y="300"/>
                    </a:cubicBezTo>
                    <a:close/>
                    <a:moveTo>
                      <a:pt x="204" y="204"/>
                    </a:moveTo>
                    <a:lnTo>
                      <a:pt x="204" y="204"/>
                    </a:lnTo>
                    <a:cubicBezTo>
                      <a:pt x="163" y="246"/>
                      <a:pt x="123" y="300"/>
                      <a:pt x="123" y="300"/>
                    </a:cubicBezTo>
                    <a:cubicBezTo>
                      <a:pt x="123" y="314"/>
                      <a:pt x="123" y="314"/>
                      <a:pt x="109" y="314"/>
                    </a:cubicBezTo>
                    <a:lnTo>
                      <a:pt x="109" y="314"/>
                    </a:lnTo>
                    <a:cubicBezTo>
                      <a:pt x="95" y="300"/>
                      <a:pt x="95" y="300"/>
                      <a:pt x="95" y="286"/>
                    </a:cubicBezTo>
                    <a:cubicBezTo>
                      <a:pt x="95" y="286"/>
                      <a:pt x="135" y="218"/>
                      <a:pt x="191" y="191"/>
                    </a:cubicBezTo>
                    <a:cubicBezTo>
                      <a:pt x="204" y="177"/>
                      <a:pt x="218" y="191"/>
                      <a:pt x="218" y="191"/>
                    </a:cubicBezTo>
                    <a:cubicBezTo>
                      <a:pt x="218" y="204"/>
                      <a:pt x="218" y="204"/>
                      <a:pt x="204" y="204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</p:grpSp>
        <p:grpSp>
          <p:nvGrpSpPr>
            <p:cNvPr id="24" name="Group 81"/>
            <p:cNvGrpSpPr/>
            <p:nvPr/>
          </p:nvGrpSpPr>
          <p:grpSpPr>
            <a:xfrm>
              <a:off x="22833930" y="9704084"/>
              <a:ext cx="823198" cy="829298"/>
              <a:chOff x="15935700" y="10788544"/>
              <a:chExt cx="618722" cy="623064"/>
            </a:xfrm>
            <a:solidFill>
              <a:srgbClr val="FFFFFF"/>
            </a:solidFill>
          </p:grpSpPr>
          <p:sp>
            <p:nvSpPr>
              <p:cNvPr id="25" name="Freeform 584"/>
              <p:cNvSpPr>
                <a:spLocks noChangeArrowheads="1"/>
              </p:cNvSpPr>
              <p:nvPr/>
            </p:nvSpPr>
            <p:spPr bwMode="auto">
              <a:xfrm>
                <a:off x="15935700" y="10788544"/>
                <a:ext cx="618722" cy="623064"/>
              </a:xfrm>
              <a:custGeom>
                <a:avLst/>
                <a:gdLst>
                  <a:gd name="T0" fmla="*/ 641 w 654"/>
                  <a:gd name="T1" fmla="*/ 258 h 655"/>
                  <a:gd name="T2" fmla="*/ 341 w 654"/>
                  <a:gd name="T3" fmla="*/ 13 h 655"/>
                  <a:gd name="T4" fmla="*/ 68 w 654"/>
                  <a:gd name="T5" fmla="*/ 258 h 655"/>
                  <a:gd name="T6" fmla="*/ 0 w 654"/>
                  <a:gd name="T7" fmla="*/ 258 h 655"/>
                  <a:gd name="T8" fmla="*/ 0 w 654"/>
                  <a:gd name="T9" fmla="*/ 654 h 655"/>
                  <a:gd name="T10" fmla="*/ 653 w 654"/>
                  <a:gd name="T11" fmla="*/ 654 h 655"/>
                  <a:gd name="T12" fmla="*/ 641 w 654"/>
                  <a:gd name="T13" fmla="*/ 258 h 655"/>
                  <a:gd name="T14" fmla="*/ 327 w 654"/>
                  <a:gd name="T15" fmla="*/ 55 h 655"/>
                  <a:gd name="T16" fmla="*/ 122 w 654"/>
                  <a:gd name="T17" fmla="*/ 258 h 655"/>
                  <a:gd name="T18" fmla="*/ 96 w 654"/>
                  <a:gd name="T19" fmla="*/ 558 h 655"/>
                  <a:gd name="T20" fmla="*/ 54 w 654"/>
                  <a:gd name="T21" fmla="*/ 545 h 655"/>
                  <a:gd name="T22" fmla="*/ 110 w 654"/>
                  <a:gd name="T23" fmla="*/ 545 h 655"/>
                  <a:gd name="T24" fmla="*/ 110 w 654"/>
                  <a:gd name="T25" fmla="*/ 477 h 655"/>
                  <a:gd name="T26" fmla="*/ 122 w 654"/>
                  <a:gd name="T27" fmla="*/ 381 h 655"/>
                  <a:gd name="T28" fmla="*/ 150 w 654"/>
                  <a:gd name="T29" fmla="*/ 409 h 655"/>
                  <a:gd name="T30" fmla="*/ 82 w 654"/>
                  <a:gd name="T31" fmla="*/ 422 h 655"/>
                  <a:gd name="T32" fmla="*/ 164 w 654"/>
                  <a:gd name="T33" fmla="*/ 504 h 655"/>
                  <a:gd name="T34" fmla="*/ 313 w 654"/>
                  <a:gd name="T35" fmla="*/ 558 h 655"/>
                  <a:gd name="T36" fmla="*/ 287 w 654"/>
                  <a:gd name="T37" fmla="*/ 504 h 655"/>
                  <a:gd name="T38" fmla="*/ 205 w 654"/>
                  <a:gd name="T39" fmla="*/ 558 h 655"/>
                  <a:gd name="T40" fmla="*/ 245 w 654"/>
                  <a:gd name="T41" fmla="*/ 381 h 655"/>
                  <a:gd name="T42" fmla="*/ 341 w 654"/>
                  <a:gd name="T43" fmla="*/ 558 h 655"/>
                  <a:gd name="T44" fmla="*/ 462 w 654"/>
                  <a:gd name="T45" fmla="*/ 558 h 655"/>
                  <a:gd name="T46" fmla="*/ 368 w 654"/>
                  <a:gd name="T47" fmla="*/ 558 h 655"/>
                  <a:gd name="T48" fmla="*/ 382 w 654"/>
                  <a:gd name="T49" fmla="*/ 381 h 655"/>
                  <a:gd name="T50" fmla="*/ 462 w 654"/>
                  <a:gd name="T51" fmla="*/ 545 h 655"/>
                  <a:gd name="T52" fmla="*/ 585 w 654"/>
                  <a:gd name="T53" fmla="*/ 558 h 655"/>
                  <a:gd name="T54" fmla="*/ 490 w 654"/>
                  <a:gd name="T55" fmla="*/ 558 h 655"/>
                  <a:gd name="T56" fmla="*/ 585 w 654"/>
                  <a:gd name="T57" fmla="*/ 381 h 655"/>
                  <a:gd name="T58" fmla="*/ 518 w 654"/>
                  <a:gd name="T59" fmla="*/ 395 h 655"/>
                  <a:gd name="T60" fmla="*/ 585 w 654"/>
                  <a:gd name="T61" fmla="*/ 449 h 655"/>
                  <a:gd name="T62" fmla="*/ 518 w 654"/>
                  <a:gd name="T63" fmla="*/ 477 h 655"/>
                  <a:gd name="T64" fmla="*/ 585 w 654"/>
                  <a:gd name="T65" fmla="*/ 545 h 6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654" h="655">
                    <a:moveTo>
                      <a:pt x="641" y="258"/>
                    </a:moveTo>
                    <a:lnTo>
                      <a:pt x="641" y="258"/>
                    </a:lnTo>
                    <a:cubicBezTo>
                      <a:pt x="585" y="258"/>
                      <a:pt x="585" y="258"/>
                      <a:pt x="585" y="258"/>
                    </a:cubicBezTo>
                    <a:cubicBezTo>
                      <a:pt x="341" y="13"/>
                      <a:pt x="341" y="13"/>
                      <a:pt x="341" y="13"/>
                    </a:cubicBezTo>
                    <a:cubicBezTo>
                      <a:pt x="327" y="0"/>
                      <a:pt x="313" y="0"/>
                      <a:pt x="313" y="13"/>
                    </a:cubicBezTo>
                    <a:cubicBezTo>
                      <a:pt x="68" y="258"/>
                      <a:pt x="68" y="258"/>
                      <a:pt x="68" y="258"/>
                    </a:cubicBezTo>
                    <a:cubicBezTo>
                      <a:pt x="0" y="258"/>
                      <a:pt x="0" y="258"/>
                      <a:pt x="0" y="258"/>
                    </a:cubicBezTo>
                    <a:lnTo>
                      <a:pt x="0" y="258"/>
                    </a:lnTo>
                    <a:cubicBezTo>
                      <a:pt x="0" y="654"/>
                      <a:pt x="0" y="654"/>
                      <a:pt x="0" y="654"/>
                    </a:cubicBezTo>
                    <a:lnTo>
                      <a:pt x="0" y="654"/>
                    </a:lnTo>
                    <a:cubicBezTo>
                      <a:pt x="641" y="654"/>
                      <a:pt x="641" y="654"/>
                      <a:pt x="641" y="654"/>
                    </a:cubicBezTo>
                    <a:cubicBezTo>
                      <a:pt x="653" y="654"/>
                      <a:pt x="653" y="654"/>
                      <a:pt x="653" y="654"/>
                    </a:cubicBezTo>
                    <a:cubicBezTo>
                      <a:pt x="653" y="258"/>
                      <a:pt x="653" y="258"/>
                      <a:pt x="653" y="258"/>
                    </a:cubicBezTo>
                    <a:cubicBezTo>
                      <a:pt x="653" y="258"/>
                      <a:pt x="653" y="258"/>
                      <a:pt x="641" y="258"/>
                    </a:cubicBezTo>
                    <a:close/>
                    <a:moveTo>
                      <a:pt x="327" y="55"/>
                    </a:moveTo>
                    <a:lnTo>
                      <a:pt x="327" y="55"/>
                    </a:lnTo>
                    <a:cubicBezTo>
                      <a:pt x="518" y="258"/>
                      <a:pt x="518" y="258"/>
                      <a:pt x="518" y="258"/>
                    </a:cubicBezTo>
                    <a:cubicBezTo>
                      <a:pt x="122" y="258"/>
                      <a:pt x="122" y="258"/>
                      <a:pt x="122" y="258"/>
                    </a:cubicBezTo>
                    <a:lnTo>
                      <a:pt x="327" y="55"/>
                    </a:lnTo>
                    <a:close/>
                    <a:moveTo>
                      <a:pt x="96" y="558"/>
                    </a:moveTo>
                    <a:lnTo>
                      <a:pt x="96" y="558"/>
                    </a:lnTo>
                    <a:cubicBezTo>
                      <a:pt x="82" y="558"/>
                      <a:pt x="68" y="558"/>
                      <a:pt x="54" y="545"/>
                    </a:cubicBezTo>
                    <a:cubicBezTo>
                      <a:pt x="68" y="531"/>
                      <a:pt x="68" y="531"/>
                      <a:pt x="68" y="531"/>
                    </a:cubicBezTo>
                    <a:cubicBezTo>
                      <a:pt x="68" y="531"/>
                      <a:pt x="82" y="545"/>
                      <a:pt x="110" y="545"/>
                    </a:cubicBezTo>
                    <a:cubicBezTo>
                      <a:pt x="122" y="545"/>
                      <a:pt x="136" y="531"/>
                      <a:pt x="136" y="517"/>
                    </a:cubicBezTo>
                    <a:cubicBezTo>
                      <a:pt x="136" y="489"/>
                      <a:pt x="136" y="489"/>
                      <a:pt x="110" y="477"/>
                    </a:cubicBezTo>
                    <a:cubicBezTo>
                      <a:pt x="82" y="463"/>
                      <a:pt x="54" y="449"/>
                      <a:pt x="54" y="422"/>
                    </a:cubicBezTo>
                    <a:cubicBezTo>
                      <a:pt x="54" y="395"/>
                      <a:pt x="82" y="381"/>
                      <a:pt x="122" y="381"/>
                    </a:cubicBezTo>
                    <a:cubicBezTo>
                      <a:pt x="136" y="381"/>
                      <a:pt x="150" y="381"/>
                      <a:pt x="164" y="381"/>
                    </a:cubicBezTo>
                    <a:cubicBezTo>
                      <a:pt x="150" y="409"/>
                      <a:pt x="150" y="409"/>
                      <a:pt x="150" y="409"/>
                    </a:cubicBezTo>
                    <a:cubicBezTo>
                      <a:pt x="150" y="395"/>
                      <a:pt x="136" y="395"/>
                      <a:pt x="122" y="395"/>
                    </a:cubicBezTo>
                    <a:cubicBezTo>
                      <a:pt x="96" y="395"/>
                      <a:pt x="82" y="409"/>
                      <a:pt x="82" y="422"/>
                    </a:cubicBezTo>
                    <a:cubicBezTo>
                      <a:pt x="82" y="435"/>
                      <a:pt x="96" y="449"/>
                      <a:pt x="122" y="449"/>
                    </a:cubicBezTo>
                    <a:cubicBezTo>
                      <a:pt x="150" y="463"/>
                      <a:pt x="164" y="477"/>
                      <a:pt x="164" y="504"/>
                    </a:cubicBezTo>
                    <a:cubicBezTo>
                      <a:pt x="164" y="531"/>
                      <a:pt x="150" y="558"/>
                      <a:pt x="96" y="558"/>
                    </a:cubicBezTo>
                    <a:close/>
                    <a:moveTo>
                      <a:pt x="313" y="558"/>
                    </a:moveTo>
                    <a:lnTo>
                      <a:pt x="313" y="558"/>
                    </a:lnTo>
                    <a:cubicBezTo>
                      <a:pt x="287" y="504"/>
                      <a:pt x="287" y="504"/>
                      <a:pt x="287" y="504"/>
                    </a:cubicBezTo>
                    <a:cubicBezTo>
                      <a:pt x="231" y="504"/>
                      <a:pt x="231" y="504"/>
                      <a:pt x="231" y="504"/>
                    </a:cubicBezTo>
                    <a:cubicBezTo>
                      <a:pt x="205" y="558"/>
                      <a:pt x="205" y="558"/>
                      <a:pt x="205" y="558"/>
                    </a:cubicBezTo>
                    <a:cubicBezTo>
                      <a:pt x="177" y="558"/>
                      <a:pt x="177" y="558"/>
                      <a:pt x="177" y="558"/>
                    </a:cubicBezTo>
                    <a:cubicBezTo>
                      <a:pt x="245" y="381"/>
                      <a:pt x="245" y="381"/>
                      <a:pt x="245" y="381"/>
                    </a:cubicBezTo>
                    <a:cubicBezTo>
                      <a:pt x="273" y="381"/>
                      <a:pt x="273" y="381"/>
                      <a:pt x="273" y="381"/>
                    </a:cubicBezTo>
                    <a:cubicBezTo>
                      <a:pt x="341" y="558"/>
                      <a:pt x="341" y="558"/>
                      <a:pt x="341" y="558"/>
                    </a:cubicBezTo>
                    <a:lnTo>
                      <a:pt x="313" y="558"/>
                    </a:lnTo>
                    <a:close/>
                    <a:moveTo>
                      <a:pt x="462" y="558"/>
                    </a:moveTo>
                    <a:lnTo>
                      <a:pt x="462" y="558"/>
                    </a:lnTo>
                    <a:cubicBezTo>
                      <a:pt x="368" y="558"/>
                      <a:pt x="368" y="558"/>
                      <a:pt x="368" y="558"/>
                    </a:cubicBezTo>
                    <a:cubicBezTo>
                      <a:pt x="368" y="381"/>
                      <a:pt x="368" y="381"/>
                      <a:pt x="368" y="381"/>
                    </a:cubicBezTo>
                    <a:cubicBezTo>
                      <a:pt x="382" y="381"/>
                      <a:pt x="382" y="381"/>
                      <a:pt x="382" y="381"/>
                    </a:cubicBezTo>
                    <a:cubicBezTo>
                      <a:pt x="382" y="545"/>
                      <a:pt x="382" y="545"/>
                      <a:pt x="382" y="545"/>
                    </a:cubicBezTo>
                    <a:cubicBezTo>
                      <a:pt x="462" y="545"/>
                      <a:pt x="462" y="545"/>
                      <a:pt x="462" y="545"/>
                    </a:cubicBezTo>
                    <a:lnTo>
                      <a:pt x="462" y="558"/>
                    </a:lnTo>
                    <a:close/>
                    <a:moveTo>
                      <a:pt x="585" y="558"/>
                    </a:moveTo>
                    <a:lnTo>
                      <a:pt x="585" y="558"/>
                    </a:lnTo>
                    <a:cubicBezTo>
                      <a:pt x="490" y="558"/>
                      <a:pt x="490" y="558"/>
                      <a:pt x="490" y="558"/>
                    </a:cubicBezTo>
                    <a:cubicBezTo>
                      <a:pt x="490" y="381"/>
                      <a:pt x="490" y="381"/>
                      <a:pt x="490" y="381"/>
                    </a:cubicBezTo>
                    <a:cubicBezTo>
                      <a:pt x="585" y="381"/>
                      <a:pt x="585" y="381"/>
                      <a:pt x="585" y="381"/>
                    </a:cubicBezTo>
                    <a:cubicBezTo>
                      <a:pt x="585" y="395"/>
                      <a:pt x="585" y="395"/>
                      <a:pt x="585" y="395"/>
                    </a:cubicBezTo>
                    <a:cubicBezTo>
                      <a:pt x="518" y="395"/>
                      <a:pt x="518" y="395"/>
                      <a:pt x="518" y="395"/>
                    </a:cubicBezTo>
                    <a:cubicBezTo>
                      <a:pt x="518" y="449"/>
                      <a:pt x="518" y="449"/>
                      <a:pt x="518" y="449"/>
                    </a:cubicBezTo>
                    <a:cubicBezTo>
                      <a:pt x="585" y="449"/>
                      <a:pt x="585" y="449"/>
                      <a:pt x="585" y="449"/>
                    </a:cubicBezTo>
                    <a:cubicBezTo>
                      <a:pt x="585" y="477"/>
                      <a:pt x="585" y="477"/>
                      <a:pt x="585" y="477"/>
                    </a:cubicBezTo>
                    <a:cubicBezTo>
                      <a:pt x="518" y="477"/>
                      <a:pt x="518" y="477"/>
                      <a:pt x="518" y="477"/>
                    </a:cubicBezTo>
                    <a:cubicBezTo>
                      <a:pt x="518" y="545"/>
                      <a:pt x="518" y="545"/>
                      <a:pt x="518" y="545"/>
                    </a:cubicBezTo>
                    <a:cubicBezTo>
                      <a:pt x="585" y="545"/>
                      <a:pt x="585" y="545"/>
                      <a:pt x="585" y="545"/>
                    </a:cubicBezTo>
                    <a:lnTo>
                      <a:pt x="585" y="558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26" name="Freeform 585"/>
              <p:cNvSpPr>
                <a:spLocks noChangeArrowheads="1"/>
              </p:cNvSpPr>
              <p:nvPr/>
            </p:nvSpPr>
            <p:spPr bwMode="auto">
              <a:xfrm>
                <a:off x="16153089" y="11160709"/>
                <a:ext cx="54346" cy="79454"/>
              </a:xfrm>
              <a:custGeom>
                <a:avLst/>
                <a:gdLst>
                  <a:gd name="T0" fmla="*/ 28 w 57"/>
                  <a:gd name="T1" fmla="*/ 0 h 83"/>
                  <a:gd name="T2" fmla="*/ 28 w 57"/>
                  <a:gd name="T3" fmla="*/ 0 h 83"/>
                  <a:gd name="T4" fmla="*/ 28 w 57"/>
                  <a:gd name="T5" fmla="*/ 0 h 83"/>
                  <a:gd name="T6" fmla="*/ 14 w 57"/>
                  <a:gd name="T7" fmla="*/ 40 h 83"/>
                  <a:gd name="T8" fmla="*/ 0 w 57"/>
                  <a:gd name="T9" fmla="*/ 82 h 83"/>
                  <a:gd name="T10" fmla="*/ 56 w 57"/>
                  <a:gd name="T11" fmla="*/ 82 h 83"/>
                  <a:gd name="T12" fmla="*/ 42 w 57"/>
                  <a:gd name="T13" fmla="*/ 40 h 83"/>
                  <a:gd name="T14" fmla="*/ 28 w 57"/>
                  <a:gd name="T15" fmla="*/ 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7" h="83">
                    <a:moveTo>
                      <a:pt x="28" y="0"/>
                    </a:moveTo>
                    <a:lnTo>
                      <a:pt x="28" y="0"/>
                    </a:lnTo>
                    <a:lnTo>
                      <a:pt x="28" y="0"/>
                    </a:lnTo>
                    <a:cubicBezTo>
                      <a:pt x="28" y="14"/>
                      <a:pt x="28" y="27"/>
                      <a:pt x="14" y="40"/>
                    </a:cubicBezTo>
                    <a:cubicBezTo>
                      <a:pt x="0" y="82"/>
                      <a:pt x="0" y="82"/>
                      <a:pt x="0" y="82"/>
                    </a:cubicBezTo>
                    <a:cubicBezTo>
                      <a:pt x="56" y="82"/>
                      <a:pt x="56" y="82"/>
                      <a:pt x="56" y="82"/>
                    </a:cubicBezTo>
                    <a:cubicBezTo>
                      <a:pt x="42" y="40"/>
                      <a:pt x="42" y="40"/>
                      <a:pt x="42" y="40"/>
                    </a:cubicBezTo>
                    <a:cubicBezTo>
                      <a:pt x="28" y="27"/>
                      <a:pt x="28" y="14"/>
                      <a:pt x="28" y="0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五边形 1"/>
          <p:cNvSpPr/>
          <p:nvPr userDrawn="1"/>
        </p:nvSpPr>
        <p:spPr>
          <a:xfrm>
            <a:off x="0" y="0"/>
            <a:ext cx="3867807" cy="6858000"/>
          </a:xfrm>
          <a:prstGeom prst="homePlate">
            <a:avLst>
              <a:gd name="adj" fmla="val 17328"/>
            </a:avLst>
          </a:prstGeom>
          <a:solidFill>
            <a:srgbClr val="B7CC3E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zh-CN" altLang="en-US" sz="4800" b="1" spc="300" dirty="0" smtClean="0">
                <a:latin typeface="+mj-ea"/>
                <a:ea typeface="+mj-ea"/>
              </a:rPr>
              <a:t>目 录</a:t>
            </a:r>
            <a:endParaRPr lang="en-US" altLang="zh-CN" sz="4800" b="1" spc="300" dirty="0" smtClean="0">
              <a:latin typeface="+mj-ea"/>
              <a:ea typeface="+mj-ea"/>
            </a:endParaRPr>
          </a:p>
          <a:p>
            <a:pPr algn="ctr">
              <a:lnSpc>
                <a:spcPct val="150000"/>
              </a:lnSpc>
            </a:pPr>
            <a:r>
              <a:rPr lang="en-US" altLang="zh-CN" sz="4800" b="1" spc="300" dirty="0" smtClean="0">
                <a:ea typeface="+mj-ea"/>
              </a:rPr>
              <a:t>Content</a:t>
            </a:r>
            <a:endParaRPr lang="zh-CN" altLang="en-US" sz="4800" b="1" spc="300" dirty="0">
              <a:ea typeface="+mj-e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796" y="798"/>
          <a:ext cx="793" cy="7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2"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0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6" y="798"/>
                        <a:ext cx="793" cy="7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圆角矩形 18"/>
          <p:cNvSpPr/>
          <p:nvPr userDrawn="1"/>
        </p:nvSpPr>
        <p:spPr>
          <a:xfrm rot="2654918">
            <a:off x="2701997" y="2766830"/>
            <a:ext cx="1195641" cy="1195641"/>
          </a:xfrm>
          <a:prstGeom prst="roundRect">
            <a:avLst>
              <a:gd name="adj" fmla="val 15499"/>
            </a:avLst>
          </a:prstGeom>
          <a:solidFill>
            <a:srgbClr val="B7CC3E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斜纹 19"/>
          <p:cNvSpPr/>
          <p:nvPr userDrawn="1"/>
        </p:nvSpPr>
        <p:spPr>
          <a:xfrm>
            <a:off x="0" y="442762"/>
            <a:ext cx="1520792" cy="1568918"/>
          </a:xfrm>
          <a:prstGeom prst="diagStripe">
            <a:avLst>
              <a:gd name="adj" fmla="val 88131"/>
            </a:avLst>
          </a:prstGeom>
          <a:gradFill flip="none" rotWithShape="1">
            <a:gsLst>
              <a:gs pos="0">
                <a:srgbClr val="B7CC3E">
                  <a:tint val="66000"/>
                  <a:satMod val="160000"/>
                </a:srgbClr>
              </a:gs>
              <a:gs pos="50000">
                <a:srgbClr val="B7CC3E">
                  <a:tint val="44500"/>
                  <a:satMod val="160000"/>
                </a:srgbClr>
              </a:gs>
              <a:gs pos="100000">
                <a:srgbClr val="B7CC3E">
                  <a:tint val="23500"/>
                  <a:satMod val="160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21" name="斜纹 20"/>
          <p:cNvSpPr/>
          <p:nvPr userDrawn="1"/>
        </p:nvSpPr>
        <p:spPr>
          <a:xfrm>
            <a:off x="760396" y="0"/>
            <a:ext cx="1520792" cy="1568918"/>
          </a:xfrm>
          <a:prstGeom prst="diagStripe">
            <a:avLst>
              <a:gd name="adj" fmla="val 88131"/>
            </a:avLst>
          </a:prstGeom>
          <a:gradFill flip="none" rotWithShape="1">
            <a:gsLst>
              <a:gs pos="0">
                <a:srgbClr val="B7CC3E">
                  <a:tint val="66000"/>
                  <a:satMod val="160000"/>
                </a:srgbClr>
              </a:gs>
              <a:gs pos="50000">
                <a:srgbClr val="B7CC3E">
                  <a:tint val="44500"/>
                  <a:satMod val="160000"/>
                </a:srgbClr>
              </a:gs>
              <a:gs pos="100000">
                <a:srgbClr val="B7CC3E">
                  <a:tint val="23500"/>
                  <a:satMod val="160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25" name="斜纹 24"/>
          <p:cNvSpPr/>
          <p:nvPr userDrawn="1"/>
        </p:nvSpPr>
        <p:spPr>
          <a:xfrm flipV="1">
            <a:off x="0" y="5119611"/>
            <a:ext cx="1763028" cy="1568918"/>
          </a:xfrm>
          <a:prstGeom prst="diagStripe">
            <a:avLst>
              <a:gd name="adj" fmla="val 88131"/>
            </a:avLst>
          </a:prstGeom>
          <a:gradFill flip="none" rotWithShape="1">
            <a:gsLst>
              <a:gs pos="0">
                <a:srgbClr val="B7CC3E">
                  <a:tint val="66000"/>
                  <a:satMod val="160000"/>
                </a:srgbClr>
              </a:gs>
              <a:gs pos="50000">
                <a:srgbClr val="B7CC3E">
                  <a:tint val="44500"/>
                  <a:satMod val="160000"/>
                </a:srgbClr>
              </a:gs>
              <a:gs pos="100000">
                <a:srgbClr val="B7CC3E">
                  <a:tint val="23500"/>
                  <a:satMod val="160000"/>
                </a:srgb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26" name="斜纹 25"/>
          <p:cNvSpPr/>
          <p:nvPr userDrawn="1"/>
        </p:nvSpPr>
        <p:spPr>
          <a:xfrm flipV="1">
            <a:off x="518160" y="5289082"/>
            <a:ext cx="1763028" cy="1568918"/>
          </a:xfrm>
          <a:prstGeom prst="diagStripe">
            <a:avLst>
              <a:gd name="adj" fmla="val 88131"/>
            </a:avLst>
          </a:prstGeom>
          <a:gradFill flip="none" rotWithShape="1">
            <a:gsLst>
              <a:gs pos="0">
                <a:srgbClr val="B7CC3E">
                  <a:tint val="66000"/>
                  <a:satMod val="160000"/>
                </a:srgbClr>
              </a:gs>
              <a:gs pos="50000">
                <a:srgbClr val="B7CC3E">
                  <a:tint val="44500"/>
                  <a:satMod val="160000"/>
                </a:srgbClr>
              </a:gs>
              <a:gs pos="100000">
                <a:srgbClr val="B7CC3E">
                  <a:tint val="23500"/>
                  <a:satMod val="160000"/>
                </a:srgb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 spd="med">
    <p:wipe dir="r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796" y="798"/>
          <a:ext cx="793" cy="7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2"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0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6" y="798"/>
                        <a:ext cx="793" cy="7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矩形 7"/>
          <p:cNvSpPr/>
          <p:nvPr userDrawn="1"/>
        </p:nvSpPr>
        <p:spPr>
          <a:xfrm>
            <a:off x="0" y="185738"/>
            <a:ext cx="481263" cy="603534"/>
          </a:xfrm>
          <a:prstGeom prst="rect">
            <a:avLst/>
          </a:prstGeom>
          <a:solidFill>
            <a:srgbClr val="B7CC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  <p:transition spd="med">
    <p:wipe dir="r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/>
          <p:cNvGrpSpPr/>
          <p:nvPr userDrawn="1"/>
        </p:nvGrpSpPr>
        <p:grpSpPr>
          <a:xfrm>
            <a:off x="1482291" y="3465094"/>
            <a:ext cx="9294029" cy="117909"/>
            <a:chOff x="566555" y="877035"/>
            <a:chExt cx="2340260" cy="164545"/>
          </a:xfrm>
        </p:grpSpPr>
        <p:sp>
          <p:nvSpPr>
            <p:cNvPr id="6" name="矩形 5"/>
            <p:cNvSpPr/>
            <p:nvPr/>
          </p:nvSpPr>
          <p:spPr>
            <a:xfrm>
              <a:off x="566555" y="877035"/>
              <a:ext cx="585065" cy="164545"/>
            </a:xfrm>
            <a:prstGeom prst="rect">
              <a:avLst/>
            </a:prstGeom>
            <a:solidFill>
              <a:srgbClr val="1B619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矩形 6"/>
            <p:cNvSpPr/>
            <p:nvPr/>
          </p:nvSpPr>
          <p:spPr>
            <a:xfrm>
              <a:off x="1151620" y="877035"/>
              <a:ext cx="585065" cy="164545"/>
            </a:xfrm>
            <a:prstGeom prst="rect">
              <a:avLst/>
            </a:prstGeom>
            <a:solidFill>
              <a:srgbClr val="B7CC3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" name="矩形 7"/>
            <p:cNvSpPr/>
            <p:nvPr/>
          </p:nvSpPr>
          <p:spPr>
            <a:xfrm>
              <a:off x="1736685" y="877035"/>
              <a:ext cx="585065" cy="164545"/>
            </a:xfrm>
            <a:prstGeom prst="rect">
              <a:avLst/>
            </a:prstGeom>
            <a:solidFill>
              <a:srgbClr val="70AC4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" name="矩形 8"/>
            <p:cNvSpPr/>
            <p:nvPr/>
          </p:nvSpPr>
          <p:spPr>
            <a:xfrm>
              <a:off x="2321750" y="877035"/>
              <a:ext cx="585065" cy="164545"/>
            </a:xfrm>
            <a:prstGeom prst="rect">
              <a:avLst/>
            </a:prstGeom>
            <a:solidFill>
              <a:srgbClr val="4E5A6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7" Type="http://schemas.openxmlformats.org/officeDocument/2006/relationships/theme" Target="../theme/theme1.xml"/><Relationship Id="rId6" Type="http://schemas.openxmlformats.org/officeDocument/2006/relationships/image" Target="../media/image3.png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5F815B-D2A8-49AA-98EB-8D2DDA0D8F1E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F864A25-9965-4F61-8E8F-250006C6D194}" type="slidenum">
              <a:rPr lang="zh-CN" altLang="en-US" smtClean="0"/>
            </a:fld>
            <a:endParaRPr lang="zh-CN" altLang="en-US"/>
          </a:p>
        </p:txBody>
      </p:sp>
      <p:sp>
        <p:nvSpPr>
          <p:cNvPr id="8" name="TextBox 5"/>
          <p:cNvSpPr txBox="1"/>
          <p:nvPr userDrawn="1"/>
        </p:nvSpPr>
        <p:spPr>
          <a:xfrm>
            <a:off x="4635416" y="6543698"/>
            <a:ext cx="2775096" cy="25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chemeClr val="bg1"/>
              </a:buClr>
            </a:pPr>
            <a:r>
              <a:rPr lang="en-US" altLang="zh-CN" sz="1200" dirty="0" smtClean="0">
                <a:solidFill>
                  <a:schemeClr val="accent3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Internal</a:t>
            </a:r>
            <a:r>
              <a:rPr lang="en-US" altLang="zh-CN" sz="1200" baseline="0" dirty="0" smtClean="0">
                <a:solidFill>
                  <a:schemeClr val="accent3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 use – confidential </a:t>
            </a:r>
            <a:endParaRPr lang="zh-CN" altLang="en-US" sz="1200" dirty="0" smtClean="0">
              <a:solidFill>
                <a:schemeClr val="accent3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pic>
        <p:nvPicPr>
          <p:cNvPr id="7" name="图片 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80295" y="6084446"/>
            <a:ext cx="1411705" cy="7177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9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6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7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2.xml"/><Relationship Id="rId4" Type="http://schemas.openxmlformats.org/officeDocument/2006/relationships/tags" Target="../tags/tag6.xml"/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tags" Target="../tags/tag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4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/>
          <p:cNvSpPr txBox="1"/>
          <p:nvPr/>
        </p:nvSpPr>
        <p:spPr>
          <a:xfrm>
            <a:off x="882867" y="1450436"/>
            <a:ext cx="10447282" cy="31381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6600" b="1" dirty="0" smtClean="0">
                <a:solidFill>
                  <a:srgbClr val="4E5A62"/>
                </a:solidFill>
                <a:latin typeface="+mj-ea"/>
                <a:ea typeface="+mj-ea"/>
              </a:rPr>
              <a:t>Situational </a:t>
            </a:r>
            <a:r>
              <a:rPr lang="en-US" altLang="zh-CN" sz="6600" b="1" dirty="0" smtClean="0">
                <a:solidFill>
                  <a:srgbClr val="4E5A62"/>
                </a:solidFill>
                <a:latin typeface="+mj-ea"/>
                <a:ea typeface="+mj-ea"/>
              </a:rPr>
              <a:t>D</a:t>
            </a:r>
            <a:r>
              <a:rPr lang="zh-CN" altLang="en-US" sz="6600" b="1" dirty="0" smtClean="0">
                <a:solidFill>
                  <a:srgbClr val="4E5A62"/>
                </a:solidFill>
                <a:latin typeface="+mj-ea"/>
                <a:ea typeface="+mj-ea"/>
              </a:rPr>
              <a:t>ialogue </a:t>
            </a:r>
            <a:r>
              <a:rPr lang="en-US" altLang="zh-CN" sz="6600" b="1" dirty="0" smtClean="0">
                <a:solidFill>
                  <a:srgbClr val="4E5A62"/>
                </a:solidFill>
                <a:latin typeface="+mj-ea"/>
                <a:ea typeface="+mj-ea"/>
              </a:rPr>
              <a:t>S</a:t>
            </a:r>
            <a:r>
              <a:rPr lang="zh-CN" altLang="en-US" sz="6600" b="1" dirty="0" smtClean="0">
                <a:solidFill>
                  <a:srgbClr val="4E5A62"/>
                </a:solidFill>
                <a:latin typeface="+mj-ea"/>
                <a:ea typeface="+mj-ea"/>
              </a:rPr>
              <a:t>poken English </a:t>
            </a:r>
            <a:r>
              <a:rPr lang="en-US" altLang="zh-CN" sz="6600" b="1" dirty="0" smtClean="0">
                <a:solidFill>
                  <a:srgbClr val="4E5A62"/>
                </a:solidFill>
                <a:latin typeface="+mj-ea"/>
                <a:ea typeface="+mj-ea"/>
              </a:rPr>
              <a:t>T</a:t>
            </a:r>
            <a:r>
              <a:rPr lang="zh-CN" altLang="en-US" sz="6600" b="1" dirty="0" smtClean="0">
                <a:solidFill>
                  <a:srgbClr val="4E5A62"/>
                </a:solidFill>
                <a:latin typeface="+mj-ea"/>
                <a:ea typeface="+mj-ea"/>
              </a:rPr>
              <a:t>raining</a:t>
            </a:r>
            <a:endParaRPr lang="zh-CN" altLang="en-US" sz="6600" b="1" dirty="0" smtClean="0">
              <a:solidFill>
                <a:srgbClr val="4E5A62"/>
              </a:solidFill>
              <a:latin typeface="+mj-ea"/>
              <a:ea typeface="+mj-ea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8397765" y="4971392"/>
            <a:ext cx="3584027" cy="922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dirty="0" smtClean="0">
                <a:solidFill>
                  <a:srgbClr val="4E5A62"/>
                </a:solidFill>
              </a:rPr>
              <a:t>制作单位：电子工程处</a:t>
            </a:r>
            <a:endParaRPr lang="en-US" altLang="zh-CN" dirty="0" smtClean="0">
              <a:solidFill>
                <a:srgbClr val="4E5A62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dirty="0">
                <a:solidFill>
                  <a:srgbClr val="4E5A62"/>
                </a:solidFill>
              </a:rPr>
              <a:t>发布</a:t>
            </a:r>
            <a:r>
              <a:rPr lang="zh-CN" altLang="en-US" dirty="0" smtClean="0">
                <a:solidFill>
                  <a:srgbClr val="4E5A62"/>
                </a:solidFill>
              </a:rPr>
              <a:t>日期：</a:t>
            </a:r>
            <a:r>
              <a:rPr lang="en-US" altLang="zh-CN" dirty="0" smtClean="0">
                <a:solidFill>
                  <a:srgbClr val="4E5A62"/>
                </a:solidFill>
              </a:rPr>
              <a:t>2021.1.4</a:t>
            </a:r>
            <a:endParaRPr lang="en-US" altLang="zh-CN" dirty="0" smtClean="0">
              <a:solidFill>
                <a:srgbClr val="4E5A62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</p:transition>
    </mc:Choice>
    <mc:Fallback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0" y="6270625"/>
            <a:ext cx="2743200" cy="365125"/>
          </a:xfrm>
        </p:spPr>
        <p:txBody>
          <a:bodyPr/>
          <a:lstStyle/>
          <a:p>
            <a:fld id="{6280478B-365D-4F66-A9A1-3DC8C3BE2962}" type="slidenum">
              <a:rPr lang="zh-CN" altLang="en-US" smtClean="0"/>
            </a:fld>
            <a:endParaRPr lang="zh-CN" altLang="en-US" dirty="0"/>
          </a:p>
        </p:txBody>
      </p:sp>
      <p:sp>
        <p:nvSpPr>
          <p:cNvPr id="89" name="文本框 88"/>
          <p:cNvSpPr txBox="1"/>
          <p:nvPr/>
        </p:nvSpPr>
        <p:spPr>
          <a:xfrm>
            <a:off x="590419" y="231228"/>
            <a:ext cx="11240202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3.</a:t>
            </a:r>
            <a:r>
              <a:rPr lang="zh-CN" alt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情景模拟</a:t>
            </a:r>
            <a:r>
              <a:rPr lang="en-US" altLang="zh-CN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3--</a:t>
            </a:r>
            <a:r>
              <a:rPr lang="zh-CN" alt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天气</a:t>
            </a:r>
            <a:endParaRPr lang="zh-CN" altLang="en-US" sz="2800" b="1" kern="0" dirty="0" smtClean="0">
              <a:solidFill>
                <a:srgbClr val="4E5A62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90" name="文本框 89"/>
          <p:cNvSpPr txBox="1"/>
          <p:nvPr/>
        </p:nvSpPr>
        <p:spPr>
          <a:xfrm>
            <a:off x="662305" y="1021715"/>
            <a:ext cx="6451600" cy="5507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b="1" dirty="0" smtClean="0">
                <a:solidFill>
                  <a:srgbClr val="4E5A62"/>
                </a:solidFill>
              </a:rPr>
              <a:t>背景提示：</a:t>
            </a:r>
            <a:endParaRPr lang="zh-CN" altLang="en-US" sz="1400" i="1" dirty="0" smtClean="0">
              <a:solidFill>
                <a:srgbClr val="4E5A62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sz="1400" i="1" dirty="0" smtClean="0">
                <a:solidFill>
                  <a:srgbClr val="4E5A62"/>
                </a:solidFill>
              </a:rPr>
              <a:t>事件参与人物：</a:t>
            </a:r>
            <a:r>
              <a:rPr lang="en-US" altLang="zh-CN" sz="1400" i="1" dirty="0" smtClean="0">
                <a:solidFill>
                  <a:srgbClr val="4E5A62"/>
                </a:solidFill>
              </a:rPr>
              <a:t>Jessica</a:t>
            </a:r>
            <a:r>
              <a:rPr lang="zh-CN" altLang="en-US" sz="1400" i="1" dirty="0" smtClean="0">
                <a:solidFill>
                  <a:srgbClr val="4E5A62"/>
                </a:solidFill>
              </a:rPr>
              <a:t>、</a:t>
            </a:r>
            <a:r>
              <a:rPr lang="en-US" altLang="zh-CN" sz="1400" i="1" dirty="0" smtClean="0">
                <a:solidFill>
                  <a:srgbClr val="4E5A62"/>
                </a:solidFill>
              </a:rPr>
              <a:t>John</a:t>
            </a:r>
            <a:endParaRPr lang="zh-CN" altLang="en-US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Jessica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</a:t>
            </a: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It's so cold!</a:t>
            </a:r>
            <a:endParaRPr sz="200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John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</a:t>
            </a: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Indeed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，</a:t>
            </a: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you should wear more clothes to keep warm.</a:t>
            </a:r>
            <a:endParaRPr lang="zh-CN" altLang="en-US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Jessica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</a:t>
            </a: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I agree with you.It's </a:t>
            </a:r>
            <a:r>
              <a:rPr lang="en-US" altLang="zh-CN" sz="2000" b="1" dirty="0" smtClean="0">
                <a:solidFill>
                  <a:schemeClr val="accent3">
                    <a:lumMod val="50000"/>
                  </a:schemeClr>
                </a:solidFill>
                <a:latin typeface="Arial Bold" panose="020B0604020202090204" charset="0"/>
                <a:cs typeface="Arial Bold" panose="020B0604020202090204" charset="0"/>
              </a:rPr>
              <a:t>raining cats and dogs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，</a:t>
            </a: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we'd better stay at home.</a:t>
            </a:r>
            <a:endParaRPr lang="en-US" altLang="zh-CN" sz="200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John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</a:t>
            </a: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How long will it take to sunny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？</a:t>
            </a:r>
            <a:endParaRPr lang="zh-CN" altLang="en-US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Jessica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</a:t>
            </a: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Maybe a month or more.</a:t>
            </a: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John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</a:t>
            </a: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But I have to go to the railway station,the rain takes a lot of </a:t>
            </a:r>
            <a:r>
              <a:rPr lang="en-US" altLang="zh-CN" sz="2000" u="sng" dirty="0" smtClean="0">
                <a:solidFill>
                  <a:schemeClr val="accent6">
                    <a:lumMod val="50000"/>
                  </a:schemeClr>
                </a:solidFill>
              </a:rPr>
              <a:t>inconvenience</a:t>
            </a: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 to me.</a:t>
            </a:r>
            <a:endParaRPr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Jessica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</a:t>
            </a: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I can drive you.</a:t>
            </a:r>
            <a:endParaRPr lang="zh-CN" altLang="en-US" sz="200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John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</a:t>
            </a: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Thanks a lot!</a:t>
            </a:r>
            <a:endParaRPr lang="zh-CN" altLang="en-US" sz="16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>
              <a:lnSpc>
                <a:spcPct val="150000"/>
              </a:lnSpc>
            </a:pPr>
            <a:endParaRPr lang="zh-CN" altLang="en-US" sz="1600" dirty="0" smtClean="0">
              <a:solidFill>
                <a:schemeClr val="accent6">
                  <a:lumMod val="50000"/>
                </a:schemeClr>
              </a:solidFill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7248525" y="1460500"/>
            <a:ext cx="4286250" cy="3562350"/>
          </a:xfrm>
          <a:prstGeom prst="rect">
            <a:avLst/>
          </a:prstGeom>
        </p:spPr>
      </p:pic>
      <p:sp>
        <p:nvSpPr>
          <p:cNvPr id="4" name="云形标注 3"/>
          <p:cNvSpPr/>
          <p:nvPr/>
        </p:nvSpPr>
        <p:spPr>
          <a:xfrm>
            <a:off x="3736340" y="5153660"/>
            <a:ext cx="1840865" cy="563245"/>
          </a:xfrm>
          <a:prstGeom prst="cloudCallout">
            <a:avLst>
              <a:gd name="adj1" fmla="val -70518"/>
              <a:gd name="adj2" fmla="val -49153"/>
            </a:avLst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600">
                <a:solidFill>
                  <a:srgbClr val="FF0000"/>
                </a:solidFill>
              </a:rPr>
              <a:t>不便；麻烦</a:t>
            </a:r>
            <a:endParaRPr lang="zh-CN" altLang="en-US" sz="1600">
              <a:solidFill>
                <a:srgbClr val="FF0000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</p:transition>
    </mc:Choice>
    <mc:Fallback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0" y="6249035"/>
            <a:ext cx="2743200" cy="365125"/>
          </a:xfrm>
        </p:spPr>
        <p:txBody>
          <a:bodyPr/>
          <a:lstStyle/>
          <a:p>
            <a:fld id="{6280478B-365D-4F66-A9A1-3DC8C3BE2962}" type="slidenum">
              <a:rPr lang="zh-CN" altLang="en-US" smtClean="0"/>
            </a:fld>
            <a:endParaRPr lang="zh-CN" altLang="en-US" dirty="0"/>
          </a:p>
        </p:txBody>
      </p:sp>
      <p:sp>
        <p:nvSpPr>
          <p:cNvPr id="89" name="文本框 88"/>
          <p:cNvSpPr txBox="1"/>
          <p:nvPr/>
        </p:nvSpPr>
        <p:spPr>
          <a:xfrm>
            <a:off x="590419" y="220433"/>
            <a:ext cx="11240202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4.</a:t>
            </a:r>
            <a:r>
              <a:rPr lang="zh-CN" alt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情景模拟</a:t>
            </a:r>
            <a:r>
              <a:rPr lang="en-US" altLang="zh-CN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4--</a:t>
            </a:r>
            <a:r>
              <a:rPr lang="zh-CN" alt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工作进度</a:t>
            </a:r>
            <a:endParaRPr lang="zh-CN" altLang="en-US" sz="2800" b="1" kern="0" dirty="0" smtClean="0">
              <a:solidFill>
                <a:srgbClr val="4E5A62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90" name="文本框 89"/>
          <p:cNvSpPr txBox="1"/>
          <p:nvPr/>
        </p:nvSpPr>
        <p:spPr>
          <a:xfrm>
            <a:off x="696595" y="742315"/>
            <a:ext cx="6232525" cy="5507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b="1" dirty="0" smtClean="0">
                <a:solidFill>
                  <a:srgbClr val="4E5A62"/>
                </a:solidFill>
              </a:rPr>
              <a:t>背景提示：</a:t>
            </a:r>
            <a:endParaRPr lang="zh-CN" altLang="en-US" sz="1400" i="1" dirty="0" smtClean="0">
              <a:solidFill>
                <a:srgbClr val="4E5A62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sz="1400" i="1" dirty="0" smtClean="0">
                <a:solidFill>
                  <a:srgbClr val="4E5A62"/>
                </a:solidFill>
              </a:rPr>
              <a:t>事件参与人物：</a:t>
            </a:r>
            <a:r>
              <a:rPr lang="en-US" altLang="zh-CN" sz="1400" i="1" dirty="0" smtClean="0">
                <a:solidFill>
                  <a:srgbClr val="4E5A62"/>
                </a:solidFill>
              </a:rPr>
              <a:t>Gary</a:t>
            </a:r>
            <a:r>
              <a:rPr lang="zh-CN" altLang="en-US" sz="1400" i="1" dirty="0" smtClean="0">
                <a:solidFill>
                  <a:srgbClr val="4E5A62"/>
                </a:solidFill>
              </a:rPr>
              <a:t>、</a:t>
            </a:r>
            <a:r>
              <a:rPr lang="en-US" altLang="zh-CN" sz="1400" i="1" dirty="0" smtClean="0">
                <a:solidFill>
                  <a:srgbClr val="4E5A62"/>
                </a:solidFill>
              </a:rPr>
              <a:t>Kevin</a:t>
            </a:r>
            <a:endParaRPr lang="zh-CN" altLang="en-US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Gary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</a:t>
            </a: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Hi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，</a:t>
            </a: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Kevin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，</a:t>
            </a: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take a seat please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，How are things at work？</a:t>
            </a:r>
            <a:endParaRPr lang="zh-CN" altLang="en-US" sz="200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Kevin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</a:t>
            </a:r>
            <a:r>
              <a:rPr lang="zh-CN" sz="2000" dirty="0" smtClean="0">
                <a:solidFill>
                  <a:schemeClr val="accent6">
                    <a:lumMod val="50000"/>
                  </a:schemeClr>
                </a:solidFill>
              </a:rPr>
              <a:t>It's coming along well, but it is a little delayed.</a:t>
            </a:r>
            <a:endParaRPr lang="zh-CN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Gary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Can you finish it on time?？</a:t>
            </a:r>
            <a:endParaRPr lang="zh-CN" altLang="en-US" sz="200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Kevin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I'm pressed for time and I am afraid I need someone to help me.</a:t>
            </a:r>
            <a:endParaRPr lang="zh-CN" altLang="en-US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Gary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</a:t>
            </a:r>
            <a:r>
              <a:rPr sz="2000" dirty="0" smtClean="0">
                <a:solidFill>
                  <a:schemeClr val="accent3">
                    <a:lumMod val="50000"/>
                  </a:schemeClr>
                </a:solidFill>
                <a:sym typeface="+mn-ea"/>
              </a:rPr>
              <a:t>OK, I will send </a:t>
            </a:r>
            <a:r>
              <a:rPr lang="en-US" sz="2000" dirty="0" smtClean="0">
                <a:solidFill>
                  <a:schemeClr val="accent3">
                    <a:lumMod val="50000"/>
                  </a:schemeClr>
                </a:solidFill>
                <a:sym typeface="+mn-ea"/>
              </a:rPr>
              <a:t>Jack</a:t>
            </a:r>
            <a:r>
              <a:rPr sz="2000" dirty="0" smtClean="0">
                <a:solidFill>
                  <a:schemeClr val="accent3">
                    <a:lumMod val="50000"/>
                  </a:schemeClr>
                </a:solidFill>
                <a:sym typeface="+mn-ea"/>
              </a:rPr>
              <a:t> to help you. We need to  sent them to our clients on Friday without delay.</a:t>
            </a:r>
            <a:endParaRPr sz="2000" dirty="0" smtClean="0">
              <a:solidFill>
                <a:schemeClr val="accent3">
                  <a:lumMod val="50000"/>
                </a:schemeClr>
              </a:solidFill>
              <a:sym typeface="+mn-ea"/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Kevin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</a:t>
            </a:r>
            <a:r>
              <a:rPr lang="zh-CN" sz="2000" dirty="0" smtClean="0">
                <a:solidFill>
                  <a:schemeClr val="accent6">
                    <a:lumMod val="50000"/>
                  </a:schemeClr>
                </a:solidFill>
              </a:rPr>
              <a:t>OK, we promise to do it well.</a:t>
            </a:r>
            <a:endParaRPr lang="zh-CN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zh-CN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Gary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The word once spoken can never be recalled.</a:t>
            </a:r>
            <a:endParaRPr lang="zh-CN" altLang="en-US" sz="200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Kevin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</a:t>
            </a: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Wait and see.</a:t>
            </a:r>
            <a:endParaRPr lang="zh-CN" altLang="en-US" sz="16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>
              <a:lnSpc>
                <a:spcPct val="150000"/>
              </a:lnSpc>
            </a:pPr>
            <a:endParaRPr lang="zh-CN" altLang="en-US" sz="1600" dirty="0" smtClean="0">
              <a:solidFill>
                <a:schemeClr val="accent6">
                  <a:lumMod val="50000"/>
                </a:schemeClr>
              </a:solidFill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7386320" y="2054860"/>
            <a:ext cx="3930015" cy="2395855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</p:transition>
    </mc:Choice>
    <mc:Fallback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0" y="6249035"/>
            <a:ext cx="2743200" cy="365125"/>
          </a:xfrm>
        </p:spPr>
        <p:txBody>
          <a:bodyPr/>
          <a:lstStyle/>
          <a:p>
            <a:fld id="{6280478B-365D-4F66-A9A1-3DC8C3BE2962}" type="slidenum">
              <a:rPr lang="zh-CN" altLang="en-US" smtClean="0"/>
            </a:fld>
            <a:endParaRPr lang="zh-CN" altLang="en-US" dirty="0"/>
          </a:p>
        </p:txBody>
      </p:sp>
      <p:sp>
        <p:nvSpPr>
          <p:cNvPr id="89" name="文本框 88"/>
          <p:cNvSpPr txBox="1"/>
          <p:nvPr/>
        </p:nvSpPr>
        <p:spPr>
          <a:xfrm>
            <a:off x="590419" y="220433"/>
            <a:ext cx="11240202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拓展延伸</a:t>
            </a:r>
            <a:endParaRPr lang="zh-CN" altLang="en-US" sz="2800" b="1" kern="0" dirty="0" smtClean="0">
              <a:solidFill>
                <a:srgbClr val="4E5A62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grpSp>
        <p:nvGrpSpPr>
          <p:cNvPr id="6" name="Group 299"/>
          <p:cNvGrpSpPr/>
          <p:nvPr/>
        </p:nvGrpSpPr>
        <p:grpSpPr bwMode="auto">
          <a:xfrm>
            <a:off x="4161213" y="2677704"/>
            <a:ext cx="471893" cy="655996"/>
            <a:chOff x="2794" y="1013"/>
            <a:chExt cx="1204" cy="2088"/>
          </a:xfrm>
        </p:grpSpPr>
        <p:sp>
          <p:nvSpPr>
            <p:cNvPr id="7" name="Freeform 300"/>
            <p:cNvSpPr/>
            <p:nvPr/>
          </p:nvSpPr>
          <p:spPr bwMode="auto">
            <a:xfrm>
              <a:off x="2794" y="1013"/>
              <a:ext cx="1204" cy="1604"/>
            </a:xfrm>
            <a:custGeom>
              <a:avLst/>
              <a:gdLst>
                <a:gd name="T0" fmla="*/ 644 w 2185"/>
                <a:gd name="T1" fmla="*/ 1007 h 2715"/>
                <a:gd name="T2" fmla="*/ 677 w 2185"/>
                <a:gd name="T3" fmla="*/ 874 h 2715"/>
                <a:gd name="T4" fmla="*/ 748 w 2185"/>
                <a:gd name="T5" fmla="*/ 769 h 2715"/>
                <a:gd name="T6" fmla="*/ 847 w 2185"/>
                <a:gd name="T7" fmla="*/ 695 h 2715"/>
                <a:gd name="T8" fmla="*/ 963 w 2185"/>
                <a:gd name="T9" fmla="*/ 652 h 2715"/>
                <a:gd name="T10" fmla="*/ 1090 w 2185"/>
                <a:gd name="T11" fmla="*/ 644 h 2715"/>
                <a:gd name="T12" fmla="*/ 1218 w 2185"/>
                <a:gd name="T13" fmla="*/ 672 h 2715"/>
                <a:gd name="T14" fmla="*/ 1337 w 2185"/>
                <a:gd name="T15" fmla="*/ 736 h 2715"/>
                <a:gd name="T16" fmla="*/ 1435 w 2185"/>
                <a:gd name="T17" fmla="*/ 833 h 2715"/>
                <a:gd name="T18" fmla="*/ 1491 w 2185"/>
                <a:gd name="T19" fmla="*/ 922 h 2715"/>
                <a:gd name="T20" fmla="*/ 1516 w 2185"/>
                <a:gd name="T21" fmla="*/ 1012 h 2715"/>
                <a:gd name="T22" fmla="*/ 1509 w 2185"/>
                <a:gd name="T23" fmla="*/ 1105 h 2715"/>
                <a:gd name="T24" fmla="*/ 1469 w 2185"/>
                <a:gd name="T25" fmla="*/ 1205 h 2715"/>
                <a:gd name="T26" fmla="*/ 1394 w 2185"/>
                <a:gd name="T27" fmla="*/ 1315 h 2715"/>
                <a:gd name="T28" fmla="*/ 1281 w 2185"/>
                <a:gd name="T29" fmla="*/ 1435 h 2715"/>
                <a:gd name="T30" fmla="*/ 1131 w 2185"/>
                <a:gd name="T31" fmla="*/ 1568 h 2715"/>
                <a:gd name="T32" fmla="*/ 966 w 2185"/>
                <a:gd name="T33" fmla="*/ 1711 h 2715"/>
                <a:gd name="T34" fmla="*/ 873 w 2185"/>
                <a:gd name="T35" fmla="*/ 1834 h 2715"/>
                <a:gd name="T36" fmla="*/ 795 w 2185"/>
                <a:gd name="T37" fmla="*/ 1955 h 2715"/>
                <a:gd name="T38" fmla="*/ 734 w 2185"/>
                <a:gd name="T39" fmla="*/ 2078 h 2715"/>
                <a:gd name="T40" fmla="*/ 686 w 2185"/>
                <a:gd name="T41" fmla="*/ 2202 h 2715"/>
                <a:gd name="T42" fmla="*/ 654 w 2185"/>
                <a:gd name="T43" fmla="*/ 2330 h 2715"/>
                <a:gd name="T44" fmla="*/ 633 w 2185"/>
                <a:gd name="T45" fmla="*/ 2464 h 2715"/>
                <a:gd name="T46" fmla="*/ 622 w 2185"/>
                <a:gd name="T47" fmla="*/ 2604 h 2715"/>
                <a:gd name="T48" fmla="*/ 1280 w 2185"/>
                <a:gd name="T49" fmla="*/ 2715 h 2715"/>
                <a:gd name="T50" fmla="*/ 1279 w 2185"/>
                <a:gd name="T51" fmla="*/ 2626 h 2715"/>
                <a:gd name="T52" fmla="*/ 1284 w 2185"/>
                <a:gd name="T53" fmla="*/ 2541 h 2715"/>
                <a:gd name="T54" fmla="*/ 1299 w 2185"/>
                <a:gd name="T55" fmla="*/ 2460 h 2715"/>
                <a:gd name="T56" fmla="*/ 1322 w 2185"/>
                <a:gd name="T57" fmla="*/ 2383 h 2715"/>
                <a:gd name="T58" fmla="*/ 1357 w 2185"/>
                <a:gd name="T59" fmla="*/ 2309 h 2715"/>
                <a:gd name="T60" fmla="*/ 1403 w 2185"/>
                <a:gd name="T61" fmla="*/ 2240 h 2715"/>
                <a:gd name="T62" fmla="*/ 1462 w 2185"/>
                <a:gd name="T63" fmla="*/ 2177 h 2715"/>
                <a:gd name="T64" fmla="*/ 1536 w 2185"/>
                <a:gd name="T65" fmla="*/ 2117 h 2715"/>
                <a:gd name="T66" fmla="*/ 1647 w 2185"/>
                <a:gd name="T67" fmla="*/ 2035 h 2715"/>
                <a:gd name="T68" fmla="*/ 1760 w 2185"/>
                <a:gd name="T69" fmla="*/ 1939 h 2715"/>
                <a:gd name="T70" fmla="*/ 1870 w 2185"/>
                <a:gd name="T71" fmla="*/ 1832 h 2715"/>
                <a:gd name="T72" fmla="*/ 1970 w 2185"/>
                <a:gd name="T73" fmla="*/ 1711 h 2715"/>
                <a:gd name="T74" fmla="*/ 2057 w 2185"/>
                <a:gd name="T75" fmla="*/ 1578 h 2715"/>
                <a:gd name="T76" fmla="*/ 2125 w 2185"/>
                <a:gd name="T77" fmla="*/ 1435 h 2715"/>
                <a:gd name="T78" fmla="*/ 2170 w 2185"/>
                <a:gd name="T79" fmla="*/ 1281 h 2715"/>
                <a:gd name="T80" fmla="*/ 2185 w 2185"/>
                <a:gd name="T81" fmla="*/ 1118 h 2715"/>
                <a:gd name="T82" fmla="*/ 2163 w 2185"/>
                <a:gd name="T83" fmla="*/ 869 h 2715"/>
                <a:gd name="T84" fmla="*/ 2100 w 2185"/>
                <a:gd name="T85" fmla="*/ 651 h 2715"/>
                <a:gd name="T86" fmla="*/ 2000 w 2185"/>
                <a:gd name="T87" fmla="*/ 463 h 2715"/>
                <a:gd name="T88" fmla="*/ 1871 w 2185"/>
                <a:gd name="T89" fmla="*/ 308 h 2715"/>
                <a:gd name="T90" fmla="*/ 1721 w 2185"/>
                <a:gd name="T91" fmla="*/ 183 h 2715"/>
                <a:gd name="T92" fmla="*/ 1554 w 2185"/>
                <a:gd name="T93" fmla="*/ 91 h 2715"/>
                <a:gd name="T94" fmla="*/ 1379 w 2185"/>
                <a:gd name="T95" fmla="*/ 31 h 2715"/>
                <a:gd name="T96" fmla="*/ 1201 w 2185"/>
                <a:gd name="T97" fmla="*/ 5 h 2715"/>
                <a:gd name="T98" fmla="*/ 954 w 2185"/>
                <a:gd name="T99" fmla="*/ 5 h 2715"/>
                <a:gd name="T100" fmla="*/ 724 w 2185"/>
                <a:gd name="T101" fmla="*/ 42 h 2715"/>
                <a:gd name="T102" fmla="*/ 519 w 2185"/>
                <a:gd name="T103" fmla="*/ 112 h 2715"/>
                <a:gd name="T104" fmla="*/ 343 w 2185"/>
                <a:gd name="T105" fmla="*/ 217 h 2715"/>
                <a:gd name="T106" fmla="*/ 199 w 2185"/>
                <a:gd name="T107" fmla="*/ 354 h 2715"/>
                <a:gd name="T108" fmla="*/ 91 w 2185"/>
                <a:gd name="T109" fmla="*/ 521 h 2715"/>
                <a:gd name="T110" fmla="*/ 23 w 2185"/>
                <a:gd name="T111" fmla="*/ 717 h 2715"/>
                <a:gd name="T112" fmla="*/ 0 w 2185"/>
                <a:gd name="T113" fmla="*/ 940 h 2715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185"/>
                <a:gd name="T172" fmla="*/ 0 h 2715"/>
                <a:gd name="T173" fmla="*/ 2185 w 2185"/>
                <a:gd name="T174" fmla="*/ 2715 h 2715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185" h="2715">
                  <a:moveTo>
                    <a:pt x="0" y="1340"/>
                  </a:moveTo>
                  <a:lnTo>
                    <a:pt x="643" y="1340"/>
                  </a:lnTo>
                  <a:lnTo>
                    <a:pt x="643" y="1044"/>
                  </a:lnTo>
                  <a:lnTo>
                    <a:pt x="644" y="1007"/>
                  </a:lnTo>
                  <a:lnTo>
                    <a:pt x="648" y="970"/>
                  </a:lnTo>
                  <a:lnTo>
                    <a:pt x="655" y="937"/>
                  </a:lnTo>
                  <a:lnTo>
                    <a:pt x="666" y="903"/>
                  </a:lnTo>
                  <a:lnTo>
                    <a:pt x="677" y="874"/>
                  </a:lnTo>
                  <a:lnTo>
                    <a:pt x="692" y="845"/>
                  </a:lnTo>
                  <a:lnTo>
                    <a:pt x="708" y="818"/>
                  </a:lnTo>
                  <a:lnTo>
                    <a:pt x="728" y="793"/>
                  </a:lnTo>
                  <a:lnTo>
                    <a:pt x="748" y="769"/>
                  </a:lnTo>
                  <a:lnTo>
                    <a:pt x="771" y="748"/>
                  </a:lnTo>
                  <a:lnTo>
                    <a:pt x="794" y="728"/>
                  </a:lnTo>
                  <a:lnTo>
                    <a:pt x="819" y="711"/>
                  </a:lnTo>
                  <a:lnTo>
                    <a:pt x="847" y="695"/>
                  </a:lnTo>
                  <a:lnTo>
                    <a:pt x="874" y="681"/>
                  </a:lnTo>
                  <a:lnTo>
                    <a:pt x="903" y="670"/>
                  </a:lnTo>
                  <a:lnTo>
                    <a:pt x="933" y="660"/>
                  </a:lnTo>
                  <a:lnTo>
                    <a:pt x="963" y="652"/>
                  </a:lnTo>
                  <a:lnTo>
                    <a:pt x="994" y="648"/>
                  </a:lnTo>
                  <a:lnTo>
                    <a:pt x="1025" y="644"/>
                  </a:lnTo>
                  <a:lnTo>
                    <a:pt x="1057" y="643"/>
                  </a:lnTo>
                  <a:lnTo>
                    <a:pt x="1090" y="644"/>
                  </a:lnTo>
                  <a:lnTo>
                    <a:pt x="1122" y="648"/>
                  </a:lnTo>
                  <a:lnTo>
                    <a:pt x="1154" y="653"/>
                  </a:lnTo>
                  <a:lnTo>
                    <a:pt x="1186" y="662"/>
                  </a:lnTo>
                  <a:lnTo>
                    <a:pt x="1218" y="672"/>
                  </a:lnTo>
                  <a:lnTo>
                    <a:pt x="1249" y="683"/>
                  </a:lnTo>
                  <a:lnTo>
                    <a:pt x="1279" y="700"/>
                  </a:lnTo>
                  <a:lnTo>
                    <a:pt x="1309" y="717"/>
                  </a:lnTo>
                  <a:lnTo>
                    <a:pt x="1337" y="736"/>
                  </a:lnTo>
                  <a:lnTo>
                    <a:pt x="1365" y="758"/>
                  </a:lnTo>
                  <a:lnTo>
                    <a:pt x="1392" y="784"/>
                  </a:lnTo>
                  <a:lnTo>
                    <a:pt x="1417" y="811"/>
                  </a:lnTo>
                  <a:lnTo>
                    <a:pt x="1435" y="833"/>
                  </a:lnTo>
                  <a:lnTo>
                    <a:pt x="1451" y="855"/>
                  </a:lnTo>
                  <a:lnTo>
                    <a:pt x="1466" y="878"/>
                  </a:lnTo>
                  <a:lnTo>
                    <a:pt x="1480" y="900"/>
                  </a:lnTo>
                  <a:lnTo>
                    <a:pt x="1491" y="922"/>
                  </a:lnTo>
                  <a:lnTo>
                    <a:pt x="1501" y="944"/>
                  </a:lnTo>
                  <a:lnTo>
                    <a:pt x="1507" y="966"/>
                  </a:lnTo>
                  <a:lnTo>
                    <a:pt x="1514" y="989"/>
                  </a:lnTo>
                  <a:lnTo>
                    <a:pt x="1516" y="1012"/>
                  </a:lnTo>
                  <a:lnTo>
                    <a:pt x="1518" y="1035"/>
                  </a:lnTo>
                  <a:lnTo>
                    <a:pt x="1517" y="1058"/>
                  </a:lnTo>
                  <a:lnTo>
                    <a:pt x="1514" y="1082"/>
                  </a:lnTo>
                  <a:lnTo>
                    <a:pt x="1509" y="1105"/>
                  </a:lnTo>
                  <a:lnTo>
                    <a:pt x="1502" y="1130"/>
                  </a:lnTo>
                  <a:lnTo>
                    <a:pt x="1493" y="1155"/>
                  </a:lnTo>
                  <a:lnTo>
                    <a:pt x="1481" y="1180"/>
                  </a:lnTo>
                  <a:lnTo>
                    <a:pt x="1469" y="1205"/>
                  </a:lnTo>
                  <a:lnTo>
                    <a:pt x="1454" y="1232"/>
                  </a:lnTo>
                  <a:lnTo>
                    <a:pt x="1435" y="1260"/>
                  </a:lnTo>
                  <a:lnTo>
                    <a:pt x="1415" y="1287"/>
                  </a:lnTo>
                  <a:lnTo>
                    <a:pt x="1394" y="1315"/>
                  </a:lnTo>
                  <a:lnTo>
                    <a:pt x="1369" y="1344"/>
                  </a:lnTo>
                  <a:lnTo>
                    <a:pt x="1342" y="1374"/>
                  </a:lnTo>
                  <a:lnTo>
                    <a:pt x="1312" y="1404"/>
                  </a:lnTo>
                  <a:lnTo>
                    <a:pt x="1281" y="1435"/>
                  </a:lnTo>
                  <a:lnTo>
                    <a:pt x="1248" y="1467"/>
                  </a:lnTo>
                  <a:lnTo>
                    <a:pt x="1212" y="1500"/>
                  </a:lnTo>
                  <a:lnTo>
                    <a:pt x="1173" y="1534"/>
                  </a:lnTo>
                  <a:lnTo>
                    <a:pt x="1131" y="1568"/>
                  </a:lnTo>
                  <a:lnTo>
                    <a:pt x="1087" y="1604"/>
                  </a:lnTo>
                  <a:lnTo>
                    <a:pt x="1042" y="1641"/>
                  </a:lnTo>
                  <a:lnTo>
                    <a:pt x="994" y="1679"/>
                  </a:lnTo>
                  <a:lnTo>
                    <a:pt x="966" y="1711"/>
                  </a:lnTo>
                  <a:lnTo>
                    <a:pt x="942" y="1741"/>
                  </a:lnTo>
                  <a:lnTo>
                    <a:pt x="918" y="1772"/>
                  </a:lnTo>
                  <a:lnTo>
                    <a:pt x="894" y="1803"/>
                  </a:lnTo>
                  <a:lnTo>
                    <a:pt x="873" y="1834"/>
                  </a:lnTo>
                  <a:lnTo>
                    <a:pt x="851" y="1864"/>
                  </a:lnTo>
                  <a:lnTo>
                    <a:pt x="832" y="1896"/>
                  </a:lnTo>
                  <a:lnTo>
                    <a:pt x="813" y="1924"/>
                  </a:lnTo>
                  <a:lnTo>
                    <a:pt x="795" y="1955"/>
                  </a:lnTo>
                  <a:lnTo>
                    <a:pt x="779" y="1985"/>
                  </a:lnTo>
                  <a:lnTo>
                    <a:pt x="761" y="2017"/>
                  </a:lnTo>
                  <a:lnTo>
                    <a:pt x="748" y="2048"/>
                  </a:lnTo>
                  <a:lnTo>
                    <a:pt x="734" y="2078"/>
                  </a:lnTo>
                  <a:lnTo>
                    <a:pt x="721" y="2109"/>
                  </a:lnTo>
                  <a:lnTo>
                    <a:pt x="708" y="2140"/>
                  </a:lnTo>
                  <a:lnTo>
                    <a:pt x="698" y="2171"/>
                  </a:lnTo>
                  <a:lnTo>
                    <a:pt x="686" y="2202"/>
                  </a:lnTo>
                  <a:lnTo>
                    <a:pt x="677" y="2233"/>
                  </a:lnTo>
                  <a:lnTo>
                    <a:pt x="669" y="2265"/>
                  </a:lnTo>
                  <a:lnTo>
                    <a:pt x="661" y="2298"/>
                  </a:lnTo>
                  <a:lnTo>
                    <a:pt x="654" y="2330"/>
                  </a:lnTo>
                  <a:lnTo>
                    <a:pt x="647" y="2362"/>
                  </a:lnTo>
                  <a:lnTo>
                    <a:pt x="642" y="2397"/>
                  </a:lnTo>
                  <a:lnTo>
                    <a:pt x="637" y="2429"/>
                  </a:lnTo>
                  <a:lnTo>
                    <a:pt x="633" y="2464"/>
                  </a:lnTo>
                  <a:lnTo>
                    <a:pt x="629" y="2498"/>
                  </a:lnTo>
                  <a:lnTo>
                    <a:pt x="627" y="2533"/>
                  </a:lnTo>
                  <a:lnTo>
                    <a:pt x="623" y="2567"/>
                  </a:lnTo>
                  <a:lnTo>
                    <a:pt x="622" y="2604"/>
                  </a:lnTo>
                  <a:lnTo>
                    <a:pt x="621" y="2640"/>
                  </a:lnTo>
                  <a:lnTo>
                    <a:pt x="620" y="2677"/>
                  </a:lnTo>
                  <a:lnTo>
                    <a:pt x="620" y="2715"/>
                  </a:lnTo>
                  <a:lnTo>
                    <a:pt x="1280" y="2715"/>
                  </a:lnTo>
                  <a:lnTo>
                    <a:pt x="1280" y="2692"/>
                  </a:lnTo>
                  <a:lnTo>
                    <a:pt x="1279" y="2670"/>
                  </a:lnTo>
                  <a:lnTo>
                    <a:pt x="1279" y="2648"/>
                  </a:lnTo>
                  <a:lnTo>
                    <a:pt x="1279" y="2626"/>
                  </a:lnTo>
                  <a:lnTo>
                    <a:pt x="1280" y="2604"/>
                  </a:lnTo>
                  <a:lnTo>
                    <a:pt x="1281" y="2582"/>
                  </a:lnTo>
                  <a:lnTo>
                    <a:pt x="1282" y="2562"/>
                  </a:lnTo>
                  <a:lnTo>
                    <a:pt x="1284" y="2541"/>
                  </a:lnTo>
                  <a:lnTo>
                    <a:pt x="1287" y="2520"/>
                  </a:lnTo>
                  <a:lnTo>
                    <a:pt x="1291" y="2499"/>
                  </a:lnTo>
                  <a:lnTo>
                    <a:pt x="1295" y="2480"/>
                  </a:lnTo>
                  <a:lnTo>
                    <a:pt x="1299" y="2460"/>
                  </a:lnTo>
                  <a:lnTo>
                    <a:pt x="1304" y="2441"/>
                  </a:lnTo>
                  <a:lnTo>
                    <a:pt x="1310" y="2421"/>
                  </a:lnTo>
                  <a:lnTo>
                    <a:pt x="1316" y="2401"/>
                  </a:lnTo>
                  <a:lnTo>
                    <a:pt x="1322" y="2383"/>
                  </a:lnTo>
                  <a:lnTo>
                    <a:pt x="1329" y="2365"/>
                  </a:lnTo>
                  <a:lnTo>
                    <a:pt x="1339" y="2345"/>
                  </a:lnTo>
                  <a:lnTo>
                    <a:pt x="1347" y="2328"/>
                  </a:lnTo>
                  <a:lnTo>
                    <a:pt x="1357" y="2309"/>
                  </a:lnTo>
                  <a:lnTo>
                    <a:pt x="1367" y="2292"/>
                  </a:lnTo>
                  <a:lnTo>
                    <a:pt x="1379" y="2275"/>
                  </a:lnTo>
                  <a:lnTo>
                    <a:pt x="1390" y="2257"/>
                  </a:lnTo>
                  <a:lnTo>
                    <a:pt x="1403" y="2240"/>
                  </a:lnTo>
                  <a:lnTo>
                    <a:pt x="1417" y="2224"/>
                  </a:lnTo>
                  <a:lnTo>
                    <a:pt x="1431" y="2208"/>
                  </a:lnTo>
                  <a:lnTo>
                    <a:pt x="1446" y="2193"/>
                  </a:lnTo>
                  <a:lnTo>
                    <a:pt x="1462" y="2177"/>
                  </a:lnTo>
                  <a:lnTo>
                    <a:pt x="1479" y="2161"/>
                  </a:lnTo>
                  <a:lnTo>
                    <a:pt x="1496" y="2146"/>
                  </a:lnTo>
                  <a:lnTo>
                    <a:pt x="1516" y="2131"/>
                  </a:lnTo>
                  <a:lnTo>
                    <a:pt x="1536" y="2117"/>
                  </a:lnTo>
                  <a:lnTo>
                    <a:pt x="1563" y="2097"/>
                  </a:lnTo>
                  <a:lnTo>
                    <a:pt x="1591" y="2078"/>
                  </a:lnTo>
                  <a:lnTo>
                    <a:pt x="1619" y="2057"/>
                  </a:lnTo>
                  <a:lnTo>
                    <a:pt x="1647" y="2035"/>
                  </a:lnTo>
                  <a:lnTo>
                    <a:pt x="1676" y="2012"/>
                  </a:lnTo>
                  <a:lnTo>
                    <a:pt x="1704" y="1989"/>
                  </a:lnTo>
                  <a:lnTo>
                    <a:pt x="1731" y="1964"/>
                  </a:lnTo>
                  <a:lnTo>
                    <a:pt x="1760" y="1939"/>
                  </a:lnTo>
                  <a:lnTo>
                    <a:pt x="1788" y="1914"/>
                  </a:lnTo>
                  <a:lnTo>
                    <a:pt x="1816" y="1887"/>
                  </a:lnTo>
                  <a:lnTo>
                    <a:pt x="1843" y="1861"/>
                  </a:lnTo>
                  <a:lnTo>
                    <a:pt x="1870" y="1832"/>
                  </a:lnTo>
                  <a:lnTo>
                    <a:pt x="1896" y="1802"/>
                  </a:lnTo>
                  <a:lnTo>
                    <a:pt x="1922" y="1772"/>
                  </a:lnTo>
                  <a:lnTo>
                    <a:pt x="1946" y="1742"/>
                  </a:lnTo>
                  <a:lnTo>
                    <a:pt x="1970" y="1711"/>
                  </a:lnTo>
                  <a:lnTo>
                    <a:pt x="1993" y="1679"/>
                  </a:lnTo>
                  <a:lnTo>
                    <a:pt x="2016" y="1647"/>
                  </a:lnTo>
                  <a:lnTo>
                    <a:pt x="2037" y="1612"/>
                  </a:lnTo>
                  <a:lnTo>
                    <a:pt x="2057" y="1578"/>
                  </a:lnTo>
                  <a:lnTo>
                    <a:pt x="2076" y="1544"/>
                  </a:lnTo>
                  <a:lnTo>
                    <a:pt x="2093" y="1507"/>
                  </a:lnTo>
                  <a:lnTo>
                    <a:pt x="2110" y="1472"/>
                  </a:lnTo>
                  <a:lnTo>
                    <a:pt x="2125" y="1435"/>
                  </a:lnTo>
                  <a:lnTo>
                    <a:pt x="2138" y="1398"/>
                  </a:lnTo>
                  <a:lnTo>
                    <a:pt x="2151" y="1360"/>
                  </a:lnTo>
                  <a:lnTo>
                    <a:pt x="2161" y="1321"/>
                  </a:lnTo>
                  <a:lnTo>
                    <a:pt x="2170" y="1281"/>
                  </a:lnTo>
                  <a:lnTo>
                    <a:pt x="2177" y="1242"/>
                  </a:lnTo>
                  <a:lnTo>
                    <a:pt x="2182" y="1201"/>
                  </a:lnTo>
                  <a:lnTo>
                    <a:pt x="2185" y="1160"/>
                  </a:lnTo>
                  <a:lnTo>
                    <a:pt x="2185" y="1118"/>
                  </a:lnTo>
                  <a:lnTo>
                    <a:pt x="2184" y="1053"/>
                  </a:lnTo>
                  <a:lnTo>
                    <a:pt x="2181" y="990"/>
                  </a:lnTo>
                  <a:lnTo>
                    <a:pt x="2174" y="929"/>
                  </a:lnTo>
                  <a:lnTo>
                    <a:pt x="2163" y="869"/>
                  </a:lnTo>
                  <a:lnTo>
                    <a:pt x="2151" y="811"/>
                  </a:lnTo>
                  <a:lnTo>
                    <a:pt x="2136" y="756"/>
                  </a:lnTo>
                  <a:lnTo>
                    <a:pt x="2119" y="703"/>
                  </a:lnTo>
                  <a:lnTo>
                    <a:pt x="2100" y="651"/>
                  </a:lnTo>
                  <a:lnTo>
                    <a:pt x="2078" y="600"/>
                  </a:lnTo>
                  <a:lnTo>
                    <a:pt x="2054" y="553"/>
                  </a:lnTo>
                  <a:lnTo>
                    <a:pt x="2028" y="507"/>
                  </a:lnTo>
                  <a:lnTo>
                    <a:pt x="2000" y="463"/>
                  </a:lnTo>
                  <a:lnTo>
                    <a:pt x="1970" y="422"/>
                  </a:lnTo>
                  <a:lnTo>
                    <a:pt x="1939" y="382"/>
                  </a:lnTo>
                  <a:lnTo>
                    <a:pt x="1905" y="344"/>
                  </a:lnTo>
                  <a:lnTo>
                    <a:pt x="1871" y="308"/>
                  </a:lnTo>
                  <a:lnTo>
                    <a:pt x="1835" y="273"/>
                  </a:lnTo>
                  <a:lnTo>
                    <a:pt x="1798" y="242"/>
                  </a:lnTo>
                  <a:lnTo>
                    <a:pt x="1760" y="212"/>
                  </a:lnTo>
                  <a:lnTo>
                    <a:pt x="1721" y="183"/>
                  </a:lnTo>
                  <a:lnTo>
                    <a:pt x="1681" y="158"/>
                  </a:lnTo>
                  <a:lnTo>
                    <a:pt x="1639" y="134"/>
                  </a:lnTo>
                  <a:lnTo>
                    <a:pt x="1597" y="112"/>
                  </a:lnTo>
                  <a:lnTo>
                    <a:pt x="1554" y="91"/>
                  </a:lnTo>
                  <a:lnTo>
                    <a:pt x="1511" y="74"/>
                  </a:lnTo>
                  <a:lnTo>
                    <a:pt x="1468" y="58"/>
                  </a:lnTo>
                  <a:lnTo>
                    <a:pt x="1424" y="44"/>
                  </a:lnTo>
                  <a:lnTo>
                    <a:pt x="1379" y="31"/>
                  </a:lnTo>
                  <a:lnTo>
                    <a:pt x="1335" y="22"/>
                  </a:lnTo>
                  <a:lnTo>
                    <a:pt x="1290" y="14"/>
                  </a:lnTo>
                  <a:lnTo>
                    <a:pt x="1246" y="8"/>
                  </a:lnTo>
                  <a:lnTo>
                    <a:pt x="1201" y="5"/>
                  </a:lnTo>
                  <a:lnTo>
                    <a:pt x="1138" y="1"/>
                  </a:lnTo>
                  <a:lnTo>
                    <a:pt x="1075" y="0"/>
                  </a:lnTo>
                  <a:lnTo>
                    <a:pt x="1013" y="1"/>
                  </a:lnTo>
                  <a:lnTo>
                    <a:pt x="954" y="5"/>
                  </a:lnTo>
                  <a:lnTo>
                    <a:pt x="894" y="11"/>
                  </a:lnTo>
                  <a:lnTo>
                    <a:pt x="836" y="19"/>
                  </a:lnTo>
                  <a:lnTo>
                    <a:pt x="780" y="29"/>
                  </a:lnTo>
                  <a:lnTo>
                    <a:pt x="724" y="42"/>
                  </a:lnTo>
                  <a:lnTo>
                    <a:pt x="671" y="55"/>
                  </a:lnTo>
                  <a:lnTo>
                    <a:pt x="619" y="72"/>
                  </a:lnTo>
                  <a:lnTo>
                    <a:pt x="569" y="91"/>
                  </a:lnTo>
                  <a:lnTo>
                    <a:pt x="519" y="112"/>
                  </a:lnTo>
                  <a:lnTo>
                    <a:pt x="473" y="136"/>
                  </a:lnTo>
                  <a:lnTo>
                    <a:pt x="428" y="160"/>
                  </a:lnTo>
                  <a:lnTo>
                    <a:pt x="385" y="187"/>
                  </a:lnTo>
                  <a:lnTo>
                    <a:pt x="343" y="217"/>
                  </a:lnTo>
                  <a:lnTo>
                    <a:pt x="304" y="248"/>
                  </a:lnTo>
                  <a:lnTo>
                    <a:pt x="267" y="281"/>
                  </a:lnTo>
                  <a:lnTo>
                    <a:pt x="231" y="316"/>
                  </a:lnTo>
                  <a:lnTo>
                    <a:pt x="199" y="354"/>
                  </a:lnTo>
                  <a:lnTo>
                    <a:pt x="168" y="393"/>
                  </a:lnTo>
                  <a:lnTo>
                    <a:pt x="140" y="433"/>
                  </a:lnTo>
                  <a:lnTo>
                    <a:pt x="114" y="476"/>
                  </a:lnTo>
                  <a:lnTo>
                    <a:pt x="91" y="521"/>
                  </a:lnTo>
                  <a:lnTo>
                    <a:pt x="70" y="567"/>
                  </a:lnTo>
                  <a:lnTo>
                    <a:pt x="52" y="615"/>
                  </a:lnTo>
                  <a:lnTo>
                    <a:pt x="37" y="665"/>
                  </a:lnTo>
                  <a:lnTo>
                    <a:pt x="23" y="717"/>
                  </a:lnTo>
                  <a:lnTo>
                    <a:pt x="13" y="770"/>
                  </a:lnTo>
                  <a:lnTo>
                    <a:pt x="6" y="825"/>
                  </a:lnTo>
                  <a:lnTo>
                    <a:pt x="1" y="883"/>
                  </a:lnTo>
                  <a:lnTo>
                    <a:pt x="0" y="940"/>
                  </a:lnTo>
                  <a:lnTo>
                    <a:pt x="0" y="1340"/>
                  </a:lnTo>
                  <a:close/>
                </a:path>
              </a:pathLst>
            </a:custGeom>
            <a:solidFill>
              <a:srgbClr val="000000">
                <a:alpha val="50195"/>
              </a:srgbClr>
            </a:solidFill>
            <a:ln w="9525">
              <a:noFill/>
              <a:round/>
            </a:ln>
          </p:spPr>
          <p:txBody>
            <a:bodyPr/>
            <a:p>
              <a:pPr defTabSz="1217930">
                <a:defRPr/>
              </a:pPr>
              <a:endParaRPr lang="en-US" sz="2400" kern="0">
                <a:solidFill>
                  <a:sysClr val="windowText" lastClr="000000"/>
                </a:solidFill>
                <a:latin typeface="Arial" panose="020B0604020202090204" pitchFamily="34" charset="0"/>
                <a:cs typeface="Arial" panose="020B0604020202090204" pitchFamily="34" charset="0"/>
              </a:endParaRPr>
            </a:p>
          </p:txBody>
        </p:sp>
        <p:sp>
          <p:nvSpPr>
            <p:cNvPr id="8" name="Rectangle 301"/>
            <p:cNvSpPr>
              <a:spLocks noChangeArrowheads="1"/>
            </p:cNvSpPr>
            <p:nvPr/>
          </p:nvSpPr>
          <p:spPr bwMode="auto">
            <a:xfrm>
              <a:off x="3129" y="2705"/>
              <a:ext cx="382" cy="396"/>
            </a:xfrm>
            <a:prstGeom prst="rect">
              <a:avLst/>
            </a:prstGeom>
            <a:solidFill>
              <a:srgbClr val="000000">
                <a:alpha val="50195"/>
              </a:srgbClr>
            </a:solidFill>
            <a:ln w="9525">
              <a:noFill/>
              <a:miter lim="800000"/>
            </a:ln>
          </p:spPr>
          <p:txBody>
            <a:bodyPr/>
            <a:p>
              <a:pPr defTabSz="1217930">
                <a:defRPr/>
              </a:pPr>
              <a:endParaRPr lang="en-US" sz="2400" kern="0">
                <a:solidFill>
                  <a:sysClr val="windowText" lastClr="000000"/>
                </a:solidFill>
                <a:latin typeface="Arial" panose="020B0604020202090204" pitchFamily="34" charset="0"/>
                <a:cs typeface="Arial" panose="020B0604020202090204" pitchFamily="34" charset="0"/>
              </a:endParaRPr>
            </a:p>
          </p:txBody>
        </p:sp>
      </p:grpSp>
      <p:sp>
        <p:nvSpPr>
          <p:cNvPr id="4" name="文本框 3"/>
          <p:cNvSpPr txBox="1"/>
          <p:nvPr/>
        </p:nvSpPr>
        <p:spPr>
          <a:xfrm>
            <a:off x="590550" y="2829560"/>
            <a:ext cx="3570605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400" b="1"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如何用英文表达“没关系”</a:t>
            </a:r>
            <a:endParaRPr lang="zh-CN" altLang="en-US" sz="2400" b="1"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5996305" y="1717675"/>
            <a:ext cx="5214620" cy="310769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2800" b="1" i="1">
                <a:solidFill>
                  <a:schemeClr val="accent3">
                    <a:lumMod val="50000"/>
                  </a:schemeClr>
                </a:solidFill>
                <a:latin typeface="Arial Bold Italic" panose="020B0604020202090204" charset="0"/>
                <a:cs typeface="Arial Bold Italic" panose="020B0604020202090204" charset="0"/>
              </a:rPr>
              <a:t>1.That's OK!</a:t>
            </a:r>
            <a:endParaRPr lang="en-US" altLang="zh-CN" sz="2800" b="1" i="1">
              <a:solidFill>
                <a:schemeClr val="accent3">
                  <a:lumMod val="50000"/>
                </a:schemeClr>
              </a:solidFill>
              <a:latin typeface="Arial Bold Italic" panose="020B0604020202090204" charset="0"/>
              <a:cs typeface="Arial Bold Italic" panose="020B0604020202090204" charset="0"/>
            </a:endParaRPr>
          </a:p>
          <a:p>
            <a:r>
              <a:rPr lang="en-US" altLang="zh-CN" sz="2800" b="1" i="1">
                <a:solidFill>
                  <a:schemeClr val="accent3">
                    <a:lumMod val="50000"/>
                  </a:schemeClr>
                </a:solidFill>
                <a:latin typeface="Arial Bold Italic" panose="020B0604020202090204" charset="0"/>
                <a:cs typeface="Arial Bold Italic" panose="020B0604020202090204" charset="0"/>
              </a:rPr>
              <a:t>2.That's alright!</a:t>
            </a:r>
            <a:endParaRPr lang="en-US" altLang="zh-CN" sz="2800" b="1" i="1">
              <a:solidFill>
                <a:schemeClr val="accent3">
                  <a:lumMod val="50000"/>
                </a:schemeClr>
              </a:solidFill>
              <a:latin typeface="Arial Bold Italic" panose="020B0604020202090204" charset="0"/>
              <a:cs typeface="Arial Bold Italic" panose="020B0604020202090204" charset="0"/>
            </a:endParaRPr>
          </a:p>
          <a:p>
            <a:r>
              <a:rPr lang="en-US" altLang="zh-CN" sz="2800" b="1" i="1">
                <a:solidFill>
                  <a:schemeClr val="accent3">
                    <a:lumMod val="50000"/>
                  </a:schemeClr>
                </a:solidFill>
                <a:latin typeface="Arial Bold Italic" panose="020B0604020202090204" charset="0"/>
                <a:cs typeface="Arial Bold Italic" panose="020B0604020202090204" charset="0"/>
              </a:rPr>
              <a:t>3.Don't worry about it!</a:t>
            </a:r>
            <a:endParaRPr lang="en-US" altLang="zh-CN" sz="2800" b="1" i="1">
              <a:solidFill>
                <a:schemeClr val="accent3">
                  <a:lumMod val="50000"/>
                </a:schemeClr>
              </a:solidFill>
              <a:latin typeface="Arial Bold Italic" panose="020B0604020202090204" charset="0"/>
              <a:cs typeface="Arial Bold Italic" panose="020B0604020202090204" charset="0"/>
            </a:endParaRPr>
          </a:p>
          <a:p>
            <a:r>
              <a:rPr lang="en-US" altLang="zh-CN" sz="2800" b="1" i="1">
                <a:solidFill>
                  <a:schemeClr val="accent3">
                    <a:lumMod val="50000"/>
                  </a:schemeClr>
                </a:solidFill>
                <a:latin typeface="Arial Bold Italic" panose="020B0604020202090204" charset="0"/>
                <a:cs typeface="Arial Bold Italic" panose="020B0604020202090204" charset="0"/>
              </a:rPr>
              <a:t>4.It's nothing!</a:t>
            </a:r>
            <a:endParaRPr lang="en-US" altLang="zh-CN" sz="2800" b="1" i="1">
              <a:solidFill>
                <a:schemeClr val="accent3">
                  <a:lumMod val="50000"/>
                </a:schemeClr>
              </a:solidFill>
              <a:latin typeface="Arial Bold Italic" panose="020B0604020202090204" charset="0"/>
              <a:cs typeface="Arial Bold Italic" panose="020B0604020202090204" charset="0"/>
            </a:endParaRPr>
          </a:p>
          <a:p>
            <a:r>
              <a:rPr lang="en-US" altLang="zh-CN" sz="2800" b="1" i="1">
                <a:solidFill>
                  <a:schemeClr val="accent3">
                    <a:lumMod val="50000"/>
                  </a:schemeClr>
                </a:solidFill>
                <a:latin typeface="Arial Bold Italic" panose="020B0604020202090204" charset="0"/>
                <a:cs typeface="Arial Bold Italic" panose="020B0604020202090204" charset="0"/>
              </a:rPr>
              <a:t>5.Never mind!</a:t>
            </a:r>
            <a:endParaRPr lang="en-US" altLang="zh-CN" sz="2800" b="1" i="1">
              <a:solidFill>
                <a:schemeClr val="accent3">
                  <a:lumMod val="50000"/>
                </a:schemeClr>
              </a:solidFill>
              <a:latin typeface="Arial Bold Italic" panose="020B0604020202090204" charset="0"/>
              <a:cs typeface="Arial Bold Italic" panose="020B0604020202090204" charset="0"/>
            </a:endParaRPr>
          </a:p>
          <a:p>
            <a:r>
              <a:rPr lang="en-US" altLang="zh-CN" sz="2800" b="1" i="1">
                <a:solidFill>
                  <a:schemeClr val="accent3">
                    <a:lumMod val="50000"/>
                  </a:schemeClr>
                </a:solidFill>
                <a:latin typeface="Arial Bold Italic" panose="020B0604020202090204" charset="0"/>
                <a:cs typeface="Arial Bold Italic" panose="020B0604020202090204" charset="0"/>
              </a:rPr>
              <a:t>6.It doesn't matter!</a:t>
            </a:r>
            <a:endParaRPr lang="en-US" altLang="zh-CN" sz="2800" b="1" i="1">
              <a:solidFill>
                <a:schemeClr val="accent3">
                  <a:lumMod val="50000"/>
                </a:schemeClr>
              </a:solidFill>
              <a:latin typeface="Arial Bold Italic" panose="020B0604020202090204" charset="0"/>
              <a:cs typeface="Arial Bold Italic" panose="020B0604020202090204" charset="0"/>
            </a:endParaRPr>
          </a:p>
          <a:p>
            <a:r>
              <a:rPr lang="en-US" altLang="zh-CN" sz="2800" b="1" i="1">
                <a:solidFill>
                  <a:schemeClr val="accent3">
                    <a:lumMod val="50000"/>
                  </a:schemeClr>
                </a:solidFill>
                <a:latin typeface="Arial Bold Italic" panose="020B0604020202090204" charset="0"/>
                <a:cs typeface="Arial Bold Italic" panose="020B0604020202090204" charset="0"/>
              </a:rPr>
              <a:t>7.No problem!</a:t>
            </a:r>
            <a:endParaRPr lang="en-US" altLang="zh-CN" sz="2800" b="1" i="1">
              <a:solidFill>
                <a:schemeClr val="accent3">
                  <a:lumMod val="50000"/>
                </a:schemeClr>
              </a:solidFill>
              <a:latin typeface="Arial Bold Italic" panose="020B0604020202090204" charset="0"/>
              <a:cs typeface="Arial Bold Italic" panose="020B0604020202090204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</p:transition>
    </mc:Choice>
    <mc:Fallback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5223642" y="2448911"/>
            <a:ext cx="180049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3600" b="1" dirty="0" smtClean="0">
                <a:solidFill>
                  <a:srgbClr val="4E5A62"/>
                </a:solidFill>
              </a:rPr>
              <a:t>Thanks</a:t>
            </a:r>
            <a:endParaRPr lang="zh-CN" altLang="en-US" sz="3600" b="1" dirty="0">
              <a:solidFill>
                <a:srgbClr val="4E5A62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</p:transition>
    </mc:Choice>
    <mc:Fallback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Oval 16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5232526" y="1221549"/>
            <a:ext cx="539148" cy="533156"/>
          </a:xfrm>
          <a:prstGeom prst="ellipse">
            <a:avLst/>
          </a:prstGeom>
          <a:solidFill>
            <a:srgbClr val="B7CC3E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47972" rIns="0" bIns="47972" rtlCol="0" anchor="ctr"/>
          <a:lstStyle/>
          <a:p>
            <a:pPr algn="ctr" defTabSz="1217930"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2000" b="1" dirty="0">
                <a:solidFill>
                  <a:srgbClr val="FFFFFF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1</a:t>
            </a:r>
            <a:endParaRPr lang="en-US" altLang="ko-KR" sz="2000" b="1" dirty="0">
              <a:solidFill>
                <a:srgbClr val="FFFFFF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25" name="Oval 166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5232526" y="2381706"/>
            <a:ext cx="539148" cy="533156"/>
          </a:xfrm>
          <a:prstGeom prst="ellipse">
            <a:avLst/>
          </a:prstGeom>
          <a:solidFill>
            <a:srgbClr val="B7CC3E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47972" rIns="0" bIns="47972" rtlCol="0" anchor="ctr"/>
          <a:lstStyle/>
          <a:p>
            <a:pPr algn="ctr" defTabSz="1217930"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2000" b="1" dirty="0">
                <a:solidFill>
                  <a:srgbClr val="FFFFFF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2</a:t>
            </a:r>
            <a:endParaRPr lang="en-US" altLang="ko-KR" sz="2000" b="1" dirty="0">
              <a:solidFill>
                <a:srgbClr val="FFFFFF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26" name="Oval 167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5232526" y="3562883"/>
            <a:ext cx="539148" cy="533156"/>
          </a:xfrm>
          <a:prstGeom prst="ellipse">
            <a:avLst/>
          </a:prstGeom>
          <a:solidFill>
            <a:srgbClr val="B7CC3E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47972" rIns="0" bIns="47972" rtlCol="0" anchor="ctr"/>
          <a:lstStyle/>
          <a:p>
            <a:pPr algn="ctr" defTabSz="1217930"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2000" b="1" dirty="0">
                <a:solidFill>
                  <a:srgbClr val="FFFFFF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3</a:t>
            </a:r>
            <a:endParaRPr lang="en-US" altLang="ko-KR" sz="2000" b="1" dirty="0">
              <a:solidFill>
                <a:srgbClr val="FFFFFF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27" name="Oval 168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5232526" y="4744061"/>
            <a:ext cx="539148" cy="533156"/>
          </a:xfrm>
          <a:prstGeom prst="ellipse">
            <a:avLst/>
          </a:prstGeom>
          <a:solidFill>
            <a:srgbClr val="B7CC3E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47972" rIns="0" bIns="47972" rtlCol="0" anchor="ctr"/>
          <a:lstStyle/>
          <a:p>
            <a:pPr algn="ctr" defTabSz="1217930"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2000" b="1">
                <a:solidFill>
                  <a:srgbClr val="FFFFFF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4</a:t>
            </a:r>
            <a:endParaRPr lang="en-US" altLang="ko-KR" sz="2000" b="1">
              <a:solidFill>
                <a:srgbClr val="FFFFFF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28" name="文本框 27"/>
          <p:cNvSpPr txBox="1"/>
          <p:nvPr/>
        </p:nvSpPr>
        <p:spPr>
          <a:xfrm>
            <a:off x="6285187" y="1097775"/>
            <a:ext cx="3563008" cy="7372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2800" dirty="0" smtClean="0">
                <a:solidFill>
                  <a:srgbClr val="4E5A62"/>
                </a:solidFill>
              </a:rPr>
              <a:t>情景模拟</a:t>
            </a:r>
            <a:r>
              <a:rPr lang="en-US" altLang="zh-CN" sz="2800" dirty="0" smtClean="0">
                <a:solidFill>
                  <a:srgbClr val="4E5A62"/>
                </a:solidFill>
              </a:rPr>
              <a:t>1--</a:t>
            </a:r>
            <a:r>
              <a:rPr lang="zh-CN" altLang="en-US" sz="2800" dirty="0" smtClean="0">
                <a:solidFill>
                  <a:srgbClr val="4E5A62"/>
                </a:solidFill>
              </a:rPr>
              <a:t>餐厅</a:t>
            </a:r>
            <a:endParaRPr lang="zh-CN" altLang="en-US" sz="2800" dirty="0" smtClean="0">
              <a:solidFill>
                <a:srgbClr val="4E5A62"/>
              </a:solidFill>
            </a:endParaRPr>
          </a:p>
        </p:txBody>
      </p:sp>
      <p:sp>
        <p:nvSpPr>
          <p:cNvPr id="29" name="文本框 28"/>
          <p:cNvSpPr txBox="1"/>
          <p:nvPr/>
        </p:nvSpPr>
        <p:spPr>
          <a:xfrm>
            <a:off x="6285230" y="2279015"/>
            <a:ext cx="4166870" cy="7372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2800" dirty="0">
                <a:solidFill>
                  <a:srgbClr val="4E5A62"/>
                </a:solidFill>
              </a:rPr>
              <a:t>情景模拟</a:t>
            </a:r>
            <a:r>
              <a:rPr lang="en-US" altLang="zh-CN" sz="2800" dirty="0">
                <a:solidFill>
                  <a:srgbClr val="4E5A62"/>
                </a:solidFill>
              </a:rPr>
              <a:t>2--</a:t>
            </a:r>
            <a:r>
              <a:rPr lang="zh-CN" altLang="en-US" sz="2800" dirty="0">
                <a:solidFill>
                  <a:srgbClr val="4E5A62"/>
                </a:solidFill>
              </a:rPr>
              <a:t>新人入职</a:t>
            </a:r>
            <a:endParaRPr lang="zh-CN" altLang="en-US" sz="2800" dirty="0">
              <a:solidFill>
                <a:srgbClr val="4E5A62"/>
              </a:solidFill>
            </a:endParaRPr>
          </a:p>
        </p:txBody>
      </p:sp>
      <p:sp>
        <p:nvSpPr>
          <p:cNvPr id="30" name="文本框 29"/>
          <p:cNvSpPr txBox="1"/>
          <p:nvPr/>
        </p:nvSpPr>
        <p:spPr>
          <a:xfrm>
            <a:off x="6285230" y="3460115"/>
            <a:ext cx="4644390" cy="7372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2800" dirty="0">
                <a:solidFill>
                  <a:srgbClr val="4E5A62"/>
                </a:solidFill>
              </a:rPr>
              <a:t>情景模拟</a:t>
            </a:r>
            <a:r>
              <a:rPr lang="en-US" altLang="zh-CN" sz="2800" dirty="0">
                <a:solidFill>
                  <a:srgbClr val="4E5A62"/>
                </a:solidFill>
              </a:rPr>
              <a:t>3--</a:t>
            </a:r>
            <a:r>
              <a:rPr lang="zh-CN" altLang="en-US" sz="2800" dirty="0">
                <a:solidFill>
                  <a:srgbClr val="4E5A62"/>
                </a:solidFill>
              </a:rPr>
              <a:t>天气</a:t>
            </a:r>
            <a:endParaRPr lang="zh-CN" altLang="en-US" sz="2800" dirty="0">
              <a:solidFill>
                <a:srgbClr val="4E5A62"/>
              </a:solidFill>
            </a:endParaRPr>
          </a:p>
        </p:txBody>
      </p:sp>
      <p:sp>
        <p:nvSpPr>
          <p:cNvPr id="31" name="文本框 30"/>
          <p:cNvSpPr txBox="1"/>
          <p:nvPr/>
        </p:nvSpPr>
        <p:spPr>
          <a:xfrm>
            <a:off x="6285230" y="4641215"/>
            <a:ext cx="4644390" cy="7372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2800" dirty="0">
                <a:solidFill>
                  <a:srgbClr val="4E5A62"/>
                </a:solidFill>
              </a:rPr>
              <a:t>情景模拟</a:t>
            </a:r>
            <a:r>
              <a:rPr lang="en-US" altLang="zh-CN" sz="2800" dirty="0">
                <a:solidFill>
                  <a:srgbClr val="4E5A62"/>
                </a:solidFill>
              </a:rPr>
              <a:t>4--</a:t>
            </a:r>
            <a:r>
              <a:rPr lang="zh-CN" altLang="en-US" sz="2800" dirty="0">
                <a:solidFill>
                  <a:srgbClr val="4E5A62"/>
                </a:solidFill>
              </a:rPr>
              <a:t>工作进度</a:t>
            </a:r>
            <a:endParaRPr lang="zh-CN" altLang="en-US" sz="2800" dirty="0">
              <a:solidFill>
                <a:srgbClr val="4E5A62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</p:transition>
    </mc:Choice>
    <mc:Fallback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0" y="6270625"/>
            <a:ext cx="2743200" cy="365125"/>
          </a:xfrm>
        </p:spPr>
        <p:txBody>
          <a:bodyPr/>
          <a:lstStyle/>
          <a:p>
            <a:fld id="{6280478B-365D-4F66-A9A1-3DC8C3BE2962}" type="slidenum">
              <a:rPr lang="zh-CN" altLang="en-US" smtClean="0"/>
            </a:fld>
            <a:endParaRPr lang="zh-CN" altLang="en-US" dirty="0"/>
          </a:p>
        </p:txBody>
      </p:sp>
      <p:sp>
        <p:nvSpPr>
          <p:cNvPr id="89" name="文本框 88"/>
          <p:cNvSpPr txBox="1"/>
          <p:nvPr/>
        </p:nvSpPr>
        <p:spPr>
          <a:xfrm>
            <a:off x="567559" y="231228"/>
            <a:ext cx="11240202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1.</a:t>
            </a:r>
            <a:r>
              <a:rPr lang="zh-CN" alt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情景模拟</a:t>
            </a:r>
            <a:r>
              <a:rPr lang="en-US" altLang="zh-CN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--</a:t>
            </a:r>
            <a:r>
              <a:rPr lang="zh-CN" alt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餐厅</a:t>
            </a:r>
            <a:endParaRPr lang="zh-CN" altLang="en-US" sz="2800" b="1" kern="0" dirty="0" smtClean="0">
              <a:solidFill>
                <a:srgbClr val="4E5A62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90" name="文本框 89"/>
          <p:cNvSpPr txBox="1"/>
          <p:nvPr/>
        </p:nvSpPr>
        <p:spPr>
          <a:xfrm>
            <a:off x="742161" y="716521"/>
            <a:ext cx="7788165" cy="55543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b="1" dirty="0" smtClean="0">
                <a:solidFill>
                  <a:srgbClr val="4E5A62"/>
                </a:solidFill>
              </a:rPr>
              <a:t>背景提示：</a:t>
            </a:r>
            <a:endParaRPr lang="zh-CN" altLang="en-US" sz="1400" i="1" dirty="0" smtClean="0">
              <a:solidFill>
                <a:srgbClr val="4E5A62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sz="1400" i="1" dirty="0" smtClean="0">
                <a:solidFill>
                  <a:srgbClr val="4E5A62"/>
                </a:solidFill>
              </a:rPr>
              <a:t>事件参与人物：</a:t>
            </a:r>
            <a:r>
              <a:rPr lang="en-US" altLang="zh-CN" sz="1400" i="1" dirty="0" smtClean="0">
                <a:solidFill>
                  <a:srgbClr val="4E5A62"/>
                </a:solidFill>
              </a:rPr>
              <a:t>Jimmy,Jojo</a:t>
            </a:r>
            <a:endParaRPr lang="en-US" altLang="zh-CN" sz="1400" i="1" dirty="0" smtClean="0">
              <a:solidFill>
                <a:srgbClr val="4E5A62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b="1" dirty="0" smtClean="0">
                <a:solidFill>
                  <a:srgbClr val="4E5A62"/>
                </a:solidFill>
              </a:rPr>
              <a:t>请根据以下中文提示进行英语对话：</a:t>
            </a:r>
            <a:endParaRPr lang="zh-CN" altLang="en-US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Jimmy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请问您订位了吗，先生？</a:t>
            </a: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Jojo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恐怕没有。</a:t>
            </a:r>
            <a:endParaRPr lang="zh-CN" altLang="en-US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Jimmy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好的，请跟我来。</a:t>
            </a: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Jojo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能让我看一眼菜单吗？</a:t>
            </a:r>
            <a:endParaRPr lang="zh-CN" altLang="en-US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Jimmy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给您，您喜欢哪种菜，中式的还是美式的？</a:t>
            </a: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Jojo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这是我第一次来桂林，你有什么推荐呢？</a:t>
            </a:r>
            <a:endParaRPr lang="zh-CN" altLang="en-US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Jimmy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</a:t>
            </a:r>
            <a:r>
              <a:rPr lang="zh-CN" sz="2000" dirty="0" smtClean="0">
                <a:solidFill>
                  <a:schemeClr val="accent3">
                    <a:lumMod val="50000"/>
                  </a:schemeClr>
                </a:solidFill>
                <a:sym typeface="+mn-ea"/>
              </a:rPr>
              <a:t>我推荐叉烧肉和桂林米粉。</a:t>
            </a: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Jojo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好的，就这两个了。</a:t>
            </a:r>
            <a:endParaRPr lang="zh-CN" altLang="en-US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zh-CN" sz="2000" dirty="0" smtClean="0">
                <a:solidFill>
                  <a:schemeClr val="accent3">
                    <a:lumMod val="50000"/>
                  </a:schemeClr>
                </a:solidFill>
              </a:rPr>
              <a:t>Jimmy：还要别的什么吗？</a:t>
            </a:r>
            <a:endParaRPr lang="zh-CN" altLang="en-US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Jojo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不用了，这就够了，谢谢。</a:t>
            </a:r>
            <a:endParaRPr lang="zh-CN" altLang="en-US" sz="2000" dirty="0" smtClean="0">
              <a:solidFill>
                <a:schemeClr val="accent6">
                  <a:lumMod val="50000"/>
                </a:schemeClr>
              </a:solidFill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7345680" y="1804670"/>
            <a:ext cx="3772535" cy="345059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</p:transition>
    </mc:Choice>
    <mc:Fallback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0" y="6270625"/>
            <a:ext cx="2743200" cy="365125"/>
          </a:xfrm>
        </p:spPr>
        <p:txBody>
          <a:bodyPr/>
          <a:lstStyle/>
          <a:p>
            <a:fld id="{6280478B-365D-4F66-A9A1-3DC8C3BE2962}" type="slidenum">
              <a:rPr lang="zh-CN" altLang="en-US" smtClean="0"/>
            </a:fld>
            <a:endParaRPr lang="zh-CN" altLang="en-US" dirty="0"/>
          </a:p>
        </p:txBody>
      </p:sp>
      <p:sp>
        <p:nvSpPr>
          <p:cNvPr id="89" name="文本框 88"/>
          <p:cNvSpPr txBox="1"/>
          <p:nvPr/>
        </p:nvSpPr>
        <p:spPr>
          <a:xfrm>
            <a:off x="590419" y="231228"/>
            <a:ext cx="11240202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2.</a:t>
            </a:r>
            <a:r>
              <a:rPr lang="zh-CN" alt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情景模拟</a:t>
            </a:r>
            <a:r>
              <a:rPr lang="en-US" altLang="zh-CN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--</a:t>
            </a:r>
            <a:r>
              <a:rPr lang="zh-CN" alt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新人入职</a:t>
            </a:r>
            <a:endParaRPr lang="zh-CN" altLang="en-US" sz="2800" b="1" kern="0" dirty="0" smtClean="0">
              <a:solidFill>
                <a:srgbClr val="4E5A62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90" name="文本框 89"/>
          <p:cNvSpPr txBox="1"/>
          <p:nvPr/>
        </p:nvSpPr>
        <p:spPr>
          <a:xfrm>
            <a:off x="696595" y="753110"/>
            <a:ext cx="6101080" cy="4939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b="1" dirty="0" smtClean="0">
                <a:solidFill>
                  <a:srgbClr val="4E5A62"/>
                </a:solidFill>
              </a:rPr>
              <a:t>背景提示：</a:t>
            </a:r>
            <a:endParaRPr lang="zh-CN" altLang="en-US" sz="1600" dirty="0" smtClean="0">
              <a:solidFill>
                <a:srgbClr val="4E5A62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sz="1400" i="1" dirty="0" smtClean="0">
                <a:solidFill>
                  <a:srgbClr val="4E5A62"/>
                </a:solidFill>
              </a:rPr>
              <a:t>事件参与人物：</a:t>
            </a:r>
            <a:r>
              <a:rPr lang="en-US" altLang="zh-CN" sz="1400" i="1" dirty="0" smtClean="0">
                <a:solidFill>
                  <a:srgbClr val="4E5A62"/>
                </a:solidFill>
              </a:rPr>
              <a:t>Tom&amp;Lisa</a:t>
            </a:r>
            <a:endParaRPr lang="zh-CN" altLang="en-US" sz="1400" i="1" dirty="0" smtClean="0">
              <a:solidFill>
                <a:srgbClr val="4E5A62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b="1" dirty="0" smtClean="0">
                <a:solidFill>
                  <a:srgbClr val="4E5A62"/>
                </a:solidFill>
              </a:rPr>
              <a:t>请根据以下中文提示进行英语对话：</a:t>
            </a:r>
            <a:endParaRPr lang="zh-CN" altLang="en-US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Tom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早上好，我是办公室新来的员工！</a:t>
            </a:r>
            <a:endParaRPr lang="zh-CN" altLang="en-US" sz="200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Lisa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早上好，欢迎来到我们办公室。</a:t>
            </a:r>
            <a:endParaRPr lang="zh-CN" altLang="en-US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Tom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很高兴见到你，今天是我第一天上班。还请多多指教</a:t>
            </a:r>
            <a:endParaRPr lang="zh-CN" altLang="en-US" sz="200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Lisa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如果你需要帮忙我会尽全力的。</a:t>
            </a:r>
            <a:endParaRPr lang="zh-CN" altLang="en-US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Tom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谢谢，我想知道哪张办公桌是我的。</a:t>
            </a:r>
            <a:endParaRPr lang="zh-CN" altLang="en-US" sz="200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Lisa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欧，对不起我忘记告诉你了，是靠窗的那张。</a:t>
            </a:r>
            <a:endParaRPr lang="zh-CN" altLang="en-US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Tom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没关系，我喜欢这个位置。</a:t>
            </a:r>
            <a:endParaRPr lang="zh-CN" altLang="en-US" sz="200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Lisa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这是办公室的规章制度，你可以先从这开始。</a:t>
            </a:r>
            <a:endParaRPr lang="zh-CN" altLang="en-US" sz="2000" dirty="0" smtClean="0">
              <a:solidFill>
                <a:schemeClr val="accent6">
                  <a:lumMod val="50000"/>
                </a:schemeClr>
              </a:solidFill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7458710" y="1890395"/>
            <a:ext cx="3898265" cy="266446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</p:transition>
    </mc:Choice>
    <mc:Fallback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0" y="6270625"/>
            <a:ext cx="2743200" cy="365125"/>
          </a:xfrm>
        </p:spPr>
        <p:txBody>
          <a:bodyPr/>
          <a:lstStyle/>
          <a:p>
            <a:fld id="{6280478B-365D-4F66-A9A1-3DC8C3BE2962}" type="slidenum">
              <a:rPr lang="zh-CN" altLang="en-US" smtClean="0"/>
            </a:fld>
            <a:endParaRPr lang="zh-CN" altLang="en-US" dirty="0"/>
          </a:p>
        </p:txBody>
      </p:sp>
      <p:sp>
        <p:nvSpPr>
          <p:cNvPr id="89" name="文本框 88"/>
          <p:cNvSpPr txBox="1"/>
          <p:nvPr/>
        </p:nvSpPr>
        <p:spPr>
          <a:xfrm>
            <a:off x="590419" y="231228"/>
            <a:ext cx="11240202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3.</a:t>
            </a:r>
            <a:r>
              <a:rPr lang="zh-CN" alt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情景模拟</a:t>
            </a:r>
            <a:r>
              <a:rPr lang="en-US" altLang="zh-CN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3--</a:t>
            </a:r>
            <a:r>
              <a:rPr lang="zh-CN" alt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天气</a:t>
            </a:r>
            <a:endParaRPr lang="zh-CN" altLang="en-US" sz="2800" b="1" kern="0" dirty="0" smtClean="0">
              <a:solidFill>
                <a:srgbClr val="4E5A62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90" name="文本框 89"/>
          <p:cNvSpPr txBox="1"/>
          <p:nvPr/>
        </p:nvSpPr>
        <p:spPr>
          <a:xfrm>
            <a:off x="662305" y="1021715"/>
            <a:ext cx="6451600" cy="50006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b="1" dirty="0" smtClean="0">
                <a:solidFill>
                  <a:srgbClr val="4E5A62"/>
                </a:solidFill>
              </a:rPr>
              <a:t>背景提示：</a:t>
            </a:r>
            <a:endParaRPr lang="zh-CN" altLang="en-US" sz="1400" i="1" dirty="0" smtClean="0">
              <a:solidFill>
                <a:srgbClr val="4E5A62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sz="1400" i="1" dirty="0" smtClean="0">
                <a:solidFill>
                  <a:srgbClr val="4E5A62"/>
                </a:solidFill>
              </a:rPr>
              <a:t>事件参与人物：</a:t>
            </a:r>
            <a:r>
              <a:rPr lang="en-US" altLang="zh-CN" sz="1400" i="1" dirty="0" smtClean="0">
                <a:solidFill>
                  <a:srgbClr val="4E5A62"/>
                </a:solidFill>
              </a:rPr>
              <a:t>Jessica</a:t>
            </a:r>
            <a:r>
              <a:rPr lang="zh-CN" altLang="en-US" sz="1400" i="1" dirty="0" smtClean="0">
                <a:solidFill>
                  <a:srgbClr val="4E5A62"/>
                </a:solidFill>
              </a:rPr>
              <a:t>、</a:t>
            </a:r>
            <a:r>
              <a:rPr lang="en-US" altLang="zh-CN" sz="1400" i="1" dirty="0" smtClean="0">
                <a:solidFill>
                  <a:srgbClr val="4E5A62"/>
                </a:solidFill>
              </a:rPr>
              <a:t>John</a:t>
            </a:r>
            <a:endParaRPr lang="en-US" altLang="zh-CN" sz="1400" i="1" dirty="0" smtClean="0">
              <a:solidFill>
                <a:srgbClr val="4E5A62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b="1" dirty="0" smtClean="0">
                <a:solidFill>
                  <a:srgbClr val="4E5A62"/>
                </a:solidFill>
              </a:rPr>
              <a:t>请根据以下中文提示进行英语对话：</a:t>
            </a:r>
            <a:endParaRPr lang="zh-CN" altLang="en-US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Jessica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这天真冷啊！</a:t>
            </a:r>
            <a:endParaRPr sz="200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John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确实，你应该多穿点衣服保暖。</a:t>
            </a:r>
            <a:endParaRPr lang="zh-CN" altLang="en-US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Jessica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我同意。现在正下着倾盆大雨，最好呆在家里。</a:t>
            </a: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John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多久才会放晴啊？</a:t>
            </a:r>
            <a:endParaRPr lang="zh-CN" altLang="en-US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Jessica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估计要一个月甚至更久。。。</a:t>
            </a: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John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</a:t>
            </a:r>
            <a:r>
              <a:rPr lang="zh-CN" sz="2000" dirty="0" smtClean="0">
                <a:solidFill>
                  <a:schemeClr val="accent6">
                    <a:lumMod val="50000"/>
                  </a:schemeClr>
                </a:solidFill>
              </a:rPr>
              <a:t>可是我要去火车站，这场雨给我带来了不便。</a:t>
            </a:r>
            <a:endParaRPr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Jessica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我可以开车送你。</a:t>
            </a:r>
            <a:endParaRPr lang="zh-CN" altLang="en-US" sz="200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John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太感谢你了。</a:t>
            </a:r>
            <a:endParaRPr lang="zh-CN" altLang="en-US" sz="16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>
              <a:lnSpc>
                <a:spcPct val="150000"/>
              </a:lnSpc>
            </a:pPr>
            <a:endParaRPr lang="zh-CN" altLang="en-US" sz="1600" dirty="0" smtClean="0">
              <a:solidFill>
                <a:schemeClr val="accent6">
                  <a:lumMod val="50000"/>
                </a:schemeClr>
              </a:solidFill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7248525" y="1460500"/>
            <a:ext cx="4286250" cy="356235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</p:transition>
    </mc:Choice>
    <mc:Fallback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0" y="6249035"/>
            <a:ext cx="2743200" cy="365125"/>
          </a:xfrm>
        </p:spPr>
        <p:txBody>
          <a:bodyPr/>
          <a:lstStyle/>
          <a:p>
            <a:fld id="{6280478B-365D-4F66-A9A1-3DC8C3BE2962}" type="slidenum">
              <a:rPr lang="zh-CN" altLang="en-US" smtClean="0"/>
            </a:fld>
            <a:endParaRPr lang="zh-CN" altLang="en-US" dirty="0"/>
          </a:p>
        </p:txBody>
      </p:sp>
      <p:sp>
        <p:nvSpPr>
          <p:cNvPr id="89" name="文本框 88"/>
          <p:cNvSpPr txBox="1"/>
          <p:nvPr/>
        </p:nvSpPr>
        <p:spPr>
          <a:xfrm>
            <a:off x="590419" y="220433"/>
            <a:ext cx="11240202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4.</a:t>
            </a:r>
            <a:r>
              <a:rPr lang="zh-CN" alt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情景模拟</a:t>
            </a:r>
            <a:r>
              <a:rPr lang="en-US" altLang="zh-CN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4--</a:t>
            </a:r>
            <a:r>
              <a:rPr lang="zh-CN" alt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工作进度</a:t>
            </a:r>
            <a:endParaRPr lang="zh-CN" altLang="en-US" sz="2800" b="1" kern="0" dirty="0" smtClean="0">
              <a:solidFill>
                <a:srgbClr val="4E5A62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90" name="文本框 89"/>
          <p:cNvSpPr txBox="1"/>
          <p:nvPr/>
        </p:nvSpPr>
        <p:spPr>
          <a:xfrm>
            <a:off x="696595" y="742315"/>
            <a:ext cx="6232525" cy="53079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b="1" dirty="0" smtClean="0">
                <a:solidFill>
                  <a:srgbClr val="4E5A62"/>
                </a:solidFill>
              </a:rPr>
              <a:t>背景提示：</a:t>
            </a:r>
            <a:endParaRPr lang="zh-CN" altLang="en-US" sz="1400" i="1" dirty="0" smtClean="0">
              <a:solidFill>
                <a:srgbClr val="4E5A62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sz="1400" i="1" dirty="0" smtClean="0">
                <a:solidFill>
                  <a:srgbClr val="4E5A62"/>
                </a:solidFill>
              </a:rPr>
              <a:t>事件参与人物：</a:t>
            </a:r>
            <a:r>
              <a:rPr lang="en-US" altLang="zh-CN" sz="1400" i="1" dirty="0" smtClean="0">
                <a:solidFill>
                  <a:srgbClr val="4E5A62"/>
                </a:solidFill>
              </a:rPr>
              <a:t>Gary</a:t>
            </a:r>
            <a:r>
              <a:rPr lang="zh-CN" altLang="en-US" sz="1400" i="1" dirty="0" smtClean="0">
                <a:solidFill>
                  <a:srgbClr val="4E5A62"/>
                </a:solidFill>
              </a:rPr>
              <a:t>、</a:t>
            </a:r>
            <a:r>
              <a:rPr lang="en-US" altLang="zh-CN" sz="1400" i="1" dirty="0" smtClean="0">
                <a:solidFill>
                  <a:srgbClr val="4E5A62"/>
                </a:solidFill>
              </a:rPr>
              <a:t>Kevin</a:t>
            </a:r>
            <a:endParaRPr lang="en-US" altLang="zh-CN" sz="1400" i="1" dirty="0" smtClean="0">
              <a:solidFill>
                <a:srgbClr val="4E5A62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b="1" dirty="0" smtClean="0">
                <a:solidFill>
                  <a:srgbClr val="4E5A62"/>
                </a:solidFill>
              </a:rPr>
              <a:t>请根据以下中文提示进行英语对话：</a:t>
            </a:r>
            <a:endParaRPr lang="zh-CN" altLang="en-US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Gary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嗨，</a:t>
            </a: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Kevin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，请坐，工作进展得怎么样了？</a:t>
            </a:r>
            <a:endParaRPr lang="zh-CN" altLang="en-US" sz="200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Kevin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</a:t>
            </a:r>
            <a:r>
              <a:rPr lang="zh-CN" sz="2000" dirty="0" smtClean="0">
                <a:solidFill>
                  <a:schemeClr val="accent6">
                    <a:lumMod val="50000"/>
                  </a:schemeClr>
                </a:solidFill>
              </a:rPr>
              <a:t>进展得不错，但是时间上有点拖延。</a:t>
            </a:r>
            <a:endParaRPr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Gary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能按时完成吗？</a:t>
            </a:r>
            <a:endParaRPr lang="zh-CN" altLang="en-US" sz="200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Kevin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我时间紧迫，可能需要其他人帮忙。</a:t>
            </a:r>
            <a:endParaRPr lang="zh-CN" altLang="en-US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Gary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</a:t>
            </a:r>
            <a:r>
              <a:rPr lang="zh-CN" sz="2000" dirty="0" smtClean="0">
                <a:solidFill>
                  <a:schemeClr val="accent3">
                    <a:lumMod val="50000"/>
                  </a:schemeClr>
                </a:solidFill>
              </a:rPr>
              <a:t>好，我派</a:t>
            </a: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Jack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去协助你，周五一定要发给客户，不得拖延</a:t>
            </a:r>
            <a:r>
              <a:rPr lang="zh-CN" sz="2000" dirty="0" smtClean="0">
                <a:solidFill>
                  <a:schemeClr val="accent3">
                    <a:lumMod val="50000"/>
                  </a:schemeClr>
                </a:solidFill>
              </a:rPr>
              <a:t>。</a:t>
            </a:r>
            <a:endParaRPr sz="200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Kevin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好，我们保证做好</a:t>
            </a:r>
            <a:r>
              <a:rPr lang="zh-CN" sz="2000" dirty="0" smtClean="0">
                <a:solidFill>
                  <a:schemeClr val="accent6">
                    <a:lumMod val="50000"/>
                  </a:schemeClr>
                </a:solidFill>
              </a:rPr>
              <a:t>。</a:t>
            </a:r>
            <a:endParaRPr lang="zh-CN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zh-CN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Gary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一言既出，驷马难追。</a:t>
            </a:r>
            <a:endParaRPr lang="zh-CN" altLang="en-US" sz="200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Kevin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等着瞧吧。</a:t>
            </a:r>
            <a:endParaRPr lang="zh-CN" altLang="en-US" sz="16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>
              <a:lnSpc>
                <a:spcPct val="150000"/>
              </a:lnSpc>
            </a:pPr>
            <a:endParaRPr lang="zh-CN" altLang="en-US" sz="1600" dirty="0" smtClean="0">
              <a:solidFill>
                <a:schemeClr val="accent6">
                  <a:lumMod val="50000"/>
                </a:schemeClr>
              </a:solidFill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7386320" y="2054860"/>
            <a:ext cx="3930015" cy="2395855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</p:transition>
    </mc:Choice>
    <mc:Fallback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4214650" y="2862753"/>
            <a:ext cx="5150069" cy="10147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4000" dirty="0" smtClean="0">
                <a:solidFill>
                  <a:srgbClr val="4E5A62"/>
                </a:solidFill>
                <a:latin typeface="+mj-ea"/>
                <a:ea typeface="+mj-ea"/>
              </a:rPr>
              <a:t>答案解析</a:t>
            </a:r>
            <a:endParaRPr lang="zh-CN" altLang="en-US" sz="4000" dirty="0" smtClean="0">
              <a:solidFill>
                <a:srgbClr val="4E5A62"/>
              </a:solidFill>
              <a:latin typeface="+mj-ea"/>
              <a:ea typeface="+mj-ea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</p:transition>
    </mc:Choice>
    <mc:Fallback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0" y="6270625"/>
            <a:ext cx="2743200" cy="365125"/>
          </a:xfrm>
        </p:spPr>
        <p:txBody>
          <a:bodyPr/>
          <a:lstStyle/>
          <a:p>
            <a:fld id="{6280478B-365D-4F66-A9A1-3DC8C3BE2962}" type="slidenum">
              <a:rPr lang="zh-CN" altLang="en-US" smtClean="0"/>
            </a:fld>
            <a:endParaRPr lang="zh-CN" altLang="en-US" dirty="0"/>
          </a:p>
        </p:txBody>
      </p:sp>
      <p:sp>
        <p:nvSpPr>
          <p:cNvPr id="89" name="文本框 88"/>
          <p:cNvSpPr txBox="1"/>
          <p:nvPr/>
        </p:nvSpPr>
        <p:spPr>
          <a:xfrm>
            <a:off x="567559" y="231228"/>
            <a:ext cx="11240202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1.</a:t>
            </a:r>
            <a:r>
              <a:rPr lang="zh-CN" alt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情景模拟</a:t>
            </a:r>
            <a:r>
              <a:rPr lang="en-US" altLang="zh-CN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--</a:t>
            </a:r>
            <a:r>
              <a:rPr lang="zh-CN" alt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餐厅</a:t>
            </a:r>
            <a:endParaRPr lang="zh-CN" altLang="en-US" sz="2800" b="1" kern="0" dirty="0" smtClean="0">
              <a:solidFill>
                <a:srgbClr val="4E5A62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90" name="文本框 89"/>
          <p:cNvSpPr txBox="1"/>
          <p:nvPr/>
        </p:nvSpPr>
        <p:spPr>
          <a:xfrm>
            <a:off x="742315" y="716280"/>
            <a:ext cx="6851015" cy="57543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b="1" dirty="0" smtClean="0">
                <a:solidFill>
                  <a:srgbClr val="4E5A62"/>
                </a:solidFill>
              </a:rPr>
              <a:t>背景提示：</a:t>
            </a:r>
            <a:endParaRPr lang="zh-CN" altLang="en-US" sz="1400" i="1" dirty="0" smtClean="0">
              <a:solidFill>
                <a:srgbClr val="4E5A62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sz="1400" i="1" dirty="0" smtClean="0">
                <a:solidFill>
                  <a:srgbClr val="4E5A62"/>
                </a:solidFill>
              </a:rPr>
              <a:t>事件参与人物：</a:t>
            </a:r>
            <a:r>
              <a:rPr lang="en-US" altLang="zh-CN" sz="1400" i="1" dirty="0" smtClean="0">
                <a:solidFill>
                  <a:srgbClr val="4E5A62"/>
                </a:solidFill>
              </a:rPr>
              <a:t>Jimmy,Jojo</a:t>
            </a:r>
            <a:endParaRPr lang="zh-CN" altLang="en-US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Jimmy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</a:t>
            </a: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Do you have a resevation,Sir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？</a:t>
            </a: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Jojo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</a:t>
            </a: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I'm afraid not.</a:t>
            </a:r>
            <a:endParaRPr lang="zh-CN" altLang="en-US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Jimmy:Ok,this way please.</a:t>
            </a: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Jojo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</a:t>
            </a: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Can I see the menu,please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？</a:t>
            </a:r>
            <a:endParaRPr lang="zh-CN" altLang="en-US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Jimmy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</a:t>
            </a: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Here you are.What kind of food do you like,Chinese or American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？</a:t>
            </a: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Jojo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</a:t>
            </a: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This is my first time to Guilin,what would you recommend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？</a:t>
            </a:r>
            <a:endParaRPr lang="zh-CN" altLang="en-US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Jimmy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</a:t>
            </a: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  <a:sym typeface="+mn-ea"/>
              </a:rPr>
              <a:t>I recommend BBQ pork and Guilin rice noodles.</a:t>
            </a: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Jojo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</a:t>
            </a: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Ok,I want these two.</a:t>
            </a:r>
            <a:endParaRPr lang="zh-CN" altLang="en-US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zh-CN" sz="2000" dirty="0" smtClean="0">
                <a:solidFill>
                  <a:schemeClr val="accent3">
                    <a:lumMod val="50000"/>
                  </a:schemeClr>
                </a:solidFill>
              </a:rPr>
              <a:t>Jimmy：</a:t>
            </a: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Anything more</a:t>
            </a:r>
            <a:r>
              <a:rPr lang="zh-CN" sz="2000" dirty="0" smtClean="0">
                <a:solidFill>
                  <a:schemeClr val="accent3">
                    <a:lumMod val="50000"/>
                  </a:schemeClr>
                </a:solidFill>
              </a:rPr>
              <a:t>？</a:t>
            </a:r>
            <a:endParaRPr lang="zh-CN" altLang="en-US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Jojo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</a:t>
            </a: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No,that's enough,thanks.</a:t>
            </a:r>
            <a:endParaRPr lang="en-US" altLang="zh-CN" sz="2000" dirty="0" smtClean="0">
              <a:solidFill>
                <a:schemeClr val="accent6">
                  <a:lumMod val="50000"/>
                </a:schemeClr>
              </a:solidFill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7345680" y="1804670"/>
            <a:ext cx="3772535" cy="345059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</p:transition>
    </mc:Choice>
    <mc:Fallback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0" y="6270625"/>
            <a:ext cx="2743200" cy="365125"/>
          </a:xfrm>
        </p:spPr>
        <p:txBody>
          <a:bodyPr/>
          <a:lstStyle/>
          <a:p>
            <a:fld id="{6280478B-365D-4F66-A9A1-3DC8C3BE2962}" type="slidenum">
              <a:rPr lang="zh-CN" altLang="en-US" smtClean="0"/>
            </a:fld>
            <a:endParaRPr lang="zh-CN" altLang="en-US" dirty="0"/>
          </a:p>
        </p:txBody>
      </p:sp>
      <p:sp>
        <p:nvSpPr>
          <p:cNvPr id="89" name="文本框 88"/>
          <p:cNvSpPr txBox="1"/>
          <p:nvPr/>
        </p:nvSpPr>
        <p:spPr>
          <a:xfrm>
            <a:off x="590419" y="231228"/>
            <a:ext cx="11240202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2.</a:t>
            </a:r>
            <a:r>
              <a:rPr lang="zh-CN" alt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情景模拟</a:t>
            </a:r>
            <a:r>
              <a:rPr lang="en-US" altLang="zh-CN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--</a:t>
            </a:r>
            <a:r>
              <a:rPr lang="zh-CN" alt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新人入职</a:t>
            </a:r>
            <a:endParaRPr lang="zh-CN" altLang="en-US" sz="2800" b="1" kern="0" dirty="0" smtClean="0">
              <a:solidFill>
                <a:srgbClr val="4E5A62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90" name="文本框 89"/>
          <p:cNvSpPr txBox="1"/>
          <p:nvPr/>
        </p:nvSpPr>
        <p:spPr>
          <a:xfrm>
            <a:off x="696595" y="753110"/>
            <a:ext cx="6101080" cy="54463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b="1" dirty="0" smtClean="0">
                <a:solidFill>
                  <a:srgbClr val="4E5A62"/>
                </a:solidFill>
              </a:rPr>
              <a:t>背景提示：</a:t>
            </a:r>
            <a:endParaRPr lang="zh-CN" altLang="en-US" sz="1600" dirty="0" smtClean="0">
              <a:solidFill>
                <a:srgbClr val="4E5A62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sz="1400" i="1" dirty="0" smtClean="0">
                <a:solidFill>
                  <a:srgbClr val="4E5A62"/>
                </a:solidFill>
              </a:rPr>
              <a:t>事件参与人物：</a:t>
            </a:r>
            <a:r>
              <a:rPr lang="en-US" altLang="zh-CN" sz="1400" i="1" dirty="0" smtClean="0">
                <a:solidFill>
                  <a:srgbClr val="4E5A62"/>
                </a:solidFill>
              </a:rPr>
              <a:t>Tom&amp;Lisa</a:t>
            </a:r>
            <a:endParaRPr lang="zh-CN" altLang="en-US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Tom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</a:t>
            </a: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Good morning,I am a rookie in our office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！</a:t>
            </a:r>
            <a:endParaRPr lang="zh-CN" altLang="en-US" sz="200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Lisa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</a:t>
            </a: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Good morning,welcome to our office</a:t>
            </a:r>
            <a:endParaRPr lang="zh-CN" altLang="en-US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Tom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</a:t>
            </a: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Nice to meet you,this is my first day at work and I will appreciate your guidance.</a:t>
            </a:r>
            <a:endParaRPr lang="zh-CN" altLang="en-US" sz="200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Lisa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</a:t>
            </a: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I will try my best to assist you if you need.</a:t>
            </a:r>
            <a:endParaRPr lang="zh-CN" altLang="en-US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Tom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</a:t>
            </a: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Thank you,I am wondering which desk is mine.</a:t>
            </a:r>
            <a:endParaRPr lang="zh-CN" altLang="en-US" sz="200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Lisa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</a:t>
            </a: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Sorry,I forgot to show you.That one near the window.</a:t>
            </a:r>
            <a:endParaRPr lang="zh-CN" altLang="en-US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Tom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</a:t>
            </a: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That's OK.I like the </a:t>
            </a:r>
            <a:r>
              <a:rPr lang="en-US" altLang="zh-CN" sz="2000" u="sng" dirty="0" smtClean="0">
                <a:solidFill>
                  <a:schemeClr val="accent3">
                    <a:lumMod val="50000"/>
                  </a:schemeClr>
                </a:solidFill>
              </a:rPr>
              <a:t>position</a:t>
            </a: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.</a:t>
            </a:r>
            <a:endParaRPr lang="zh-CN" altLang="en-US" sz="200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Lisa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</a:t>
            </a: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There are the rules in the office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，</a:t>
            </a: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you can start from these.</a:t>
            </a:r>
            <a:endParaRPr lang="en-US" altLang="zh-CN" sz="2000" dirty="0" smtClean="0">
              <a:solidFill>
                <a:schemeClr val="accent6">
                  <a:lumMod val="50000"/>
                </a:schemeClr>
              </a:solidFill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7458710" y="1890395"/>
            <a:ext cx="3898265" cy="2664460"/>
          </a:xfrm>
          <a:prstGeom prst="rect">
            <a:avLst/>
          </a:prstGeom>
        </p:spPr>
      </p:pic>
      <p:sp>
        <p:nvSpPr>
          <p:cNvPr id="2" name="云形标注 1"/>
          <p:cNvSpPr/>
          <p:nvPr/>
        </p:nvSpPr>
        <p:spPr>
          <a:xfrm>
            <a:off x="3868420" y="753110"/>
            <a:ext cx="1862455" cy="617220"/>
          </a:xfrm>
          <a:prstGeom prst="cloudCallout">
            <a:avLst>
              <a:gd name="adj1" fmla="val -26747"/>
              <a:gd name="adj2" fmla="val 89300"/>
            </a:avLst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600">
                <a:solidFill>
                  <a:srgbClr val="FF0000"/>
                </a:solidFill>
              </a:rPr>
              <a:t>新手，新人</a:t>
            </a:r>
            <a:endParaRPr lang="zh-CN" altLang="en-US" sz="1600">
              <a:solidFill>
                <a:srgbClr val="FF0000"/>
              </a:solidFill>
            </a:endParaRPr>
          </a:p>
        </p:txBody>
      </p:sp>
      <p:sp>
        <p:nvSpPr>
          <p:cNvPr id="5" name="云形标注 4"/>
          <p:cNvSpPr/>
          <p:nvPr/>
        </p:nvSpPr>
        <p:spPr>
          <a:xfrm>
            <a:off x="4419600" y="4664710"/>
            <a:ext cx="2072640" cy="463550"/>
          </a:xfrm>
          <a:prstGeom prst="cloudCallout">
            <a:avLst>
              <a:gd name="adj1" fmla="val -36279"/>
              <a:gd name="adj2" fmla="val 81782"/>
            </a:avLst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600">
                <a:solidFill>
                  <a:srgbClr val="FF0000"/>
                </a:solidFill>
              </a:rPr>
              <a:t>位置，方位；</a:t>
            </a:r>
            <a:endParaRPr lang="zh-CN" altLang="en-US" sz="1600">
              <a:solidFill>
                <a:srgbClr val="FF0000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</p:transition>
    </mc:Choice>
    <mc:Fallback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THINKCELLSHAPEDONOTDELETE" val="thinkcellActiveDocDoNotDelete"/>
</p:tagLst>
</file>

<file path=ppt/tags/tag3.xml><?xml version="1.0" encoding="utf-8"?>
<p:tagLst xmlns:p="http://schemas.openxmlformats.org/presentationml/2006/main">
  <p:tag name="ORIGLEFT" val="303.875"/>
  <p:tag name="ORIGTOP" val="139.125"/>
  <p:tag name="ORIGHEIGHT" val="22.25"/>
  <p:tag name="ORIGWIDTH" val="22.5"/>
</p:tagLst>
</file>

<file path=ppt/tags/tag4.xml><?xml version="1.0" encoding="utf-8"?>
<p:tagLst xmlns:p="http://schemas.openxmlformats.org/presentationml/2006/main">
  <p:tag name="ORIGLEFT" val="331.875"/>
  <p:tag name="ORIGTOP" val="139.125"/>
  <p:tag name="ORIGHEIGHT" val="22.25"/>
  <p:tag name="ORIGWIDTH" val="22.5"/>
</p:tagLst>
</file>

<file path=ppt/tags/tag5.xml><?xml version="1.0" encoding="utf-8"?>
<p:tagLst xmlns:p="http://schemas.openxmlformats.org/presentationml/2006/main">
  <p:tag name="ORIGLEFT" val="360"/>
  <p:tag name="ORIGTOP" val="139.125"/>
  <p:tag name="ORIGHEIGHT" val="22.25"/>
  <p:tag name="ORIGWIDTH" val="22.5"/>
</p:tagLst>
</file>

<file path=ppt/tags/tag6.xml><?xml version="1.0" encoding="utf-8"?>
<p:tagLst xmlns:p="http://schemas.openxmlformats.org/presentationml/2006/main">
  <p:tag name="ORIGLEFT" val="388.125"/>
  <p:tag name="ORIGTOP" val="139.125"/>
  <p:tag name="ORIGHEIGHT" val="22.25"/>
  <p:tag name="ORIGWIDTH" val="22.5"/>
</p:tagLst>
</file>

<file path=ppt/theme/theme1.xml><?xml version="1.0" encoding="utf-8"?>
<a:theme xmlns:a="http://schemas.openxmlformats.org/drawingml/2006/main" name="Office 主题​​">
  <a:themeElements>
    <a:clrScheme name="Office">
      <a:dk1>
        <a:srgbClr val="000000"/>
      </a:dk1>
      <a:lt1>
        <a:srgbClr val="FFFFFF"/>
      </a:lt1>
      <a:dk2>
        <a:srgbClr val="768395"/>
      </a:dk2>
      <a:lt2>
        <a:srgbClr val="F0F0F0"/>
      </a:lt2>
      <a:accent1>
        <a:srgbClr val="0069BF"/>
      </a:accent1>
      <a:accent2>
        <a:srgbClr val="B0CB1D"/>
      </a:accent2>
      <a:accent3>
        <a:srgbClr val="7752C4"/>
      </a:accent3>
      <a:accent4>
        <a:srgbClr val="034D95"/>
      </a:accent4>
      <a:accent5>
        <a:srgbClr val="3F859B"/>
      </a:accent5>
      <a:accent6>
        <a:srgbClr val="D81728"/>
      </a:accent6>
      <a:hlink>
        <a:srgbClr val="4472C4"/>
      </a:hlink>
      <a:folHlink>
        <a:srgbClr val="BFBFBF"/>
      </a:folHlink>
    </a:clrScheme>
    <a:fontScheme name="自定义 3">
      <a:majorFont>
        <a:latin typeface="Arial Black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>
            <a:lumMod val="40000"/>
            <a:lumOff val="60000"/>
          </a:schemeClr>
        </a:solidFill>
      </a:spPr>
      <a:bodyPr rtlCol="0" anchor="ctr"/>
      <a:lstStyle>
        <a:defPPr algn="ctr">
          <a:defRPr lang="zh-CN" altLang="en-US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803</Words>
  <Application>WPS 演示</Application>
  <PresentationFormat>宽屏</PresentationFormat>
  <Paragraphs>203</Paragraphs>
  <Slides>13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13</vt:i4>
      </vt:variant>
    </vt:vector>
  </HeadingPairs>
  <TitlesOfParts>
    <vt:vector size="32" baseType="lpstr">
      <vt:lpstr>Arial</vt:lpstr>
      <vt:lpstr>方正书宋_GBK</vt:lpstr>
      <vt:lpstr>Wingdings</vt:lpstr>
      <vt:lpstr>微软雅黑</vt:lpstr>
      <vt:lpstr>Lato Light</vt:lpstr>
      <vt:lpstr>Arial Bold</vt:lpstr>
      <vt:lpstr>华文楷体</vt:lpstr>
      <vt:lpstr>Arial Bold Italic</vt:lpstr>
      <vt:lpstr>汉仪旗黑</vt:lpstr>
      <vt:lpstr>宋体</vt:lpstr>
      <vt:lpstr>Arial Unicode MS</vt:lpstr>
      <vt:lpstr>等线</vt:lpstr>
      <vt:lpstr>汉仪中等线KW</vt:lpstr>
      <vt:lpstr>微软雅黑</vt:lpstr>
      <vt:lpstr>Thonburi</vt:lpstr>
      <vt:lpstr>汉仪书宋二KW</vt:lpstr>
      <vt:lpstr>Office 主题​​</vt:lpstr>
      <vt:lpstr>TCLayout.ActiveDocument.1</vt:lpstr>
      <vt:lpstr>TCLayout.ActiveDocument.1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Zhou Winnie</dc:creator>
  <cp:lastModifiedBy>impzhang</cp:lastModifiedBy>
  <cp:revision>85</cp:revision>
  <dcterms:created xsi:type="dcterms:W3CDTF">2021-01-05T23:50:17Z</dcterms:created>
  <dcterms:modified xsi:type="dcterms:W3CDTF">2021-01-05T23:50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2.6.1.4274</vt:lpwstr>
  </property>
</Properties>
</file>